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jpeg" ContentType="image/jpeg"/>
  <Default Extension="JPG" ContentType="image/.jp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662" r:id="rId3"/>
  </p:sldMasterIdLst>
  <p:notesMasterIdLst>
    <p:notesMasterId r:id="rId5"/>
  </p:notesMasterIdLst>
  <p:handoutMasterIdLst>
    <p:handoutMasterId r:id="rId12"/>
  </p:handoutMasterIdLst>
  <p:sldIdLst>
    <p:sldId id="258" r:id="rId4"/>
    <p:sldId id="529" r:id="rId6"/>
    <p:sldId id="725" r:id="rId7"/>
    <p:sldId id="946" r:id="rId8"/>
    <p:sldId id="944" r:id="rId9"/>
    <p:sldId id="945" r:id="rId10"/>
    <p:sldId id="288" r:id="rId11"/>
  </p:sldIdLst>
  <p:sldSz cx="12192000" cy="6858000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52" userDrawn="1">
          <p15:clr>
            <a:srgbClr val="A4A3A4"/>
          </p15:clr>
        </p15:guide>
        <p15:guide id="2" orient="horz" pos="358" userDrawn="1">
          <p15:clr>
            <a:srgbClr val="A4A3A4"/>
          </p15:clr>
        </p15:guide>
        <p15:guide id="3" pos="377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hu.Xiaolong.TA-3" initials="Z" lastIdx="1" clrIdx="0"/>
  <p:cmAuthor id="2" name="张鸿绪" initials="张鸿绪" lastIdx="29" clrIdx="1"/>
  <p:cmAuthor id="3" name="钱茜" initials="钱茜" lastIdx="2" clrIdx="2"/>
  <p:cmAuthor id="4" name="Chen.LiHong" initials="C" lastIdx="37" clrIdx="3"/>
  <p:cmAuthor id="5" name="picc" initials="p" lastIdx="1" clrIdx="4"/>
  <p:cmAuthor id="6" name="郝奥博" initials="郝奥博" lastIdx="14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FFFFFF"/>
    <a:srgbClr val="F50537"/>
    <a:srgbClr val="7F7F7F"/>
    <a:srgbClr val="BFBFBF"/>
    <a:srgbClr val="FFD671"/>
    <a:srgbClr val="544C70"/>
    <a:srgbClr val="DADADA"/>
    <a:srgbClr val="EF6484"/>
    <a:srgbClr val="D158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4403" autoAdjust="0"/>
    <p:restoredTop sz="93750" autoAdjust="0"/>
  </p:normalViewPr>
  <p:slideViewPr>
    <p:cSldViewPr snapToGrid="0" showGuides="1">
      <p:cViewPr varScale="1">
        <p:scale>
          <a:sx n="152" d="100"/>
          <a:sy n="152" d="100"/>
        </p:scale>
        <p:origin x="174" y="384"/>
      </p:cViewPr>
      <p:guideLst>
        <p:guide orient="horz" pos="3952"/>
        <p:guide orient="horz" pos="358"/>
        <p:guide pos="3771"/>
      </p:guideLst>
    </p:cSldViewPr>
  </p:slideViewPr>
  <p:outlineViewPr>
    <p:cViewPr>
      <p:scale>
        <a:sx n="33" d="100"/>
        <a:sy n="33" d="100"/>
      </p:scale>
      <p:origin x="0" y="-72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394"/>
    </p:cViewPr>
  </p:sorterViewPr>
  <p:notesViewPr>
    <p:cSldViewPr snapToGrid="0" showGuides="1">
      <p:cViewPr varScale="1">
        <p:scale>
          <a:sx n="86" d="100"/>
          <a:sy n="86" d="100"/>
        </p:scale>
        <p:origin x="2808" y="200"/>
      </p:cViewPr>
      <p:guideLst>
        <p:guide orient="horz" pos="3030"/>
        <p:guide pos="212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7" Type="http://schemas.openxmlformats.org/officeDocument/2006/relationships/slide" Target="slides/slide3.xml"/><Relationship Id="rId6" Type="http://schemas.openxmlformats.org/officeDocument/2006/relationships/slide" Target="slides/slide2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3" Type="http://schemas.openxmlformats.org/officeDocument/2006/relationships/slideMaster" Target="slideMasters/slideMaster2.xml"/><Relationship Id="rId2" Type="http://schemas.openxmlformats.org/officeDocument/2006/relationships/theme" Target="theme/theme1.xml"/><Relationship Id="rId17" Type="http://schemas.openxmlformats.org/officeDocument/2006/relationships/tags" Target="tags/tag25.xml"/><Relationship Id="rId16" Type="http://schemas.openxmlformats.org/officeDocument/2006/relationships/commentAuthors" Target="commentAuthors.xml"/><Relationship Id="rId15" Type="http://schemas.openxmlformats.org/officeDocument/2006/relationships/tableStyles" Target="tableStyles.xml"/><Relationship Id="rId14" Type="http://schemas.openxmlformats.org/officeDocument/2006/relationships/viewProps" Target="viewProps.xml"/><Relationship Id="rId13" Type="http://schemas.openxmlformats.org/officeDocument/2006/relationships/presProps" Target="presProps.xml"/><Relationship Id="rId12" Type="http://schemas.openxmlformats.org/officeDocument/2006/relationships/handoutMaster" Target="handoutMasters/handoutMaster1.xml"/><Relationship Id="rId11" Type="http://schemas.openxmlformats.org/officeDocument/2006/relationships/slide" Target="slides/slide7.xml"/><Relationship Id="rId10" Type="http://schemas.openxmlformats.org/officeDocument/2006/relationships/slide" Target="slides/slide6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AA75A0-C9D0-4B3F-90BC-8AB9A354A6C2}" type="datetimeFigureOut">
              <a:rPr lang="de-DE" smtClean="0"/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D965F0-0622-4810-9925-69BF6AF2077F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B1C147-AF00-4028-8E5C-577761F9EE39}" type="datetimeFigureOut">
              <a:rPr lang="de-DE" smtClean="0"/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68660" y="4343400"/>
            <a:ext cx="612068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9705" lvl="0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anose="020B0503040200000003" charset="0"/>
              <a:buChar char="›"/>
            </a:pPr>
            <a:r>
              <a:rPr lang="de-DE" dirty="0"/>
              <a:t>Textmasterformat bearbeiten</a:t>
            </a:r>
            <a:endParaRPr lang="de-DE" dirty="0"/>
          </a:p>
          <a:p>
            <a:pPr marL="360045" lvl="1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anose="020B0503040200000003" charset="0"/>
              <a:buChar char="›"/>
            </a:pPr>
            <a:r>
              <a:rPr lang="de-DE" dirty="0"/>
              <a:t>Zweite Ebene</a:t>
            </a:r>
            <a:endParaRPr lang="de-DE" dirty="0"/>
          </a:p>
          <a:p>
            <a:pPr marL="539750" lvl="2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anose="020B0503040200000003" charset="0"/>
              <a:buChar char="›"/>
            </a:pPr>
            <a:r>
              <a:rPr lang="de-DE" dirty="0"/>
              <a:t>Dritte Ebene</a:t>
            </a:r>
            <a:endParaRPr lang="de-DE" dirty="0"/>
          </a:p>
          <a:p>
            <a:pPr marL="720090" lvl="3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anose="020B0503040200000003" charset="0"/>
              <a:buChar char="›"/>
            </a:pPr>
            <a:r>
              <a:rPr lang="de-DE" dirty="0"/>
              <a:t>Vierte Ebene</a:t>
            </a:r>
            <a:endParaRPr lang="de-DE" dirty="0"/>
          </a:p>
          <a:p>
            <a:pPr marL="899795" lvl="4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anose="020B0503040200000003" charset="0"/>
              <a:buChar char="›"/>
            </a:pPr>
            <a:r>
              <a:rPr lang="de-DE" dirty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200" kern="1200" dirty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 smtClean="0"/>
              <a:t>自营延保购买范围，保障范围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 smtClean="0"/>
              <a:t>自营延保购买范围，保障范围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 smtClean="0"/>
              <a:t>自营延保购买范围，保障范围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 smtClean="0"/>
              <a:t>自营延保购买范围，保障范围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9" Type="http://schemas.openxmlformats.org/officeDocument/2006/relationships/tags" Target="../tags/tag11.xml"/><Relationship Id="rId8" Type="http://schemas.openxmlformats.org/officeDocument/2006/relationships/tags" Target="../tags/tag10.xml"/><Relationship Id="rId7" Type="http://schemas.openxmlformats.org/officeDocument/2006/relationships/tags" Target="../tags/tag9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1" Type="http://schemas.openxmlformats.org/officeDocument/2006/relationships/tags" Target="../tags/tag13.xml"/><Relationship Id="rId10" Type="http://schemas.openxmlformats.org/officeDocument/2006/relationships/tags" Target="../tags/tag12.xml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9" Type="http://schemas.openxmlformats.org/officeDocument/2006/relationships/tags" Target="../tags/tag21.xml"/><Relationship Id="rId8" Type="http://schemas.openxmlformats.org/officeDocument/2006/relationships/tags" Target="../tags/tag20.xml"/><Relationship Id="rId7" Type="http://schemas.openxmlformats.org/officeDocument/2006/relationships/tags" Target="../tags/tag19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.bin"/><Relationship Id="rId2" Type="http://schemas.openxmlformats.org/officeDocument/2006/relationships/tags" Target="../tags/tag16.xml"/><Relationship Id="rId10" Type="http://schemas.openxmlformats.org/officeDocument/2006/relationships/vmlDrawing" Target="../drawings/vmlDrawing2.vml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Audi Type Extended" panose="020B0505040200000003" pitchFamily="34" charset="0"/>
                <a:ea typeface="华康金刚黑" panose="020B0400000000000000" pitchFamily="34" charset="-122"/>
              </a:defRPr>
            </a:lvl1pPr>
          </a:lstStyle>
          <a:p>
            <a:r>
              <a:rPr lang="zh-CN" altLang="en-US" noProof="0" dirty="0"/>
              <a:t>标题</a:t>
            </a:r>
            <a:r>
              <a:rPr lang="en-US" noProof="0" dirty="0"/>
              <a:t> (1 </a:t>
            </a:r>
            <a:r>
              <a:rPr lang="zh-CN" altLang="en-US" noProof="0" dirty="0"/>
              <a:t>或</a:t>
            </a:r>
            <a:r>
              <a:rPr lang="en-US" noProof="0" dirty="0"/>
              <a:t> 2 </a:t>
            </a:r>
            <a:r>
              <a:rPr lang="zh-CN" altLang="en-US" noProof="0" dirty="0"/>
              <a:t>行</a:t>
            </a:r>
            <a:r>
              <a:rPr lang="en-US" noProof="0" dirty="0"/>
              <a:t>)</a:t>
            </a:r>
            <a:endParaRPr lang="en-US" noProof="0" dirty="0"/>
          </a:p>
        </p:txBody>
      </p:sp>
      <p:sp>
        <p:nvSpPr>
          <p:cNvPr id="4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089025"/>
            <a:ext cx="11341101" cy="4789261"/>
          </a:xfrm>
        </p:spPr>
        <p:txBody>
          <a:bodyPr/>
          <a:lstStyle>
            <a:lvl1pPr marL="215900" indent="-215900">
              <a:buClr>
                <a:schemeClr val="accent6"/>
              </a:buClr>
              <a:buSzPct val="125000"/>
              <a:buFont typeface="Audi Type" panose="020B0503040200000003" charset="0"/>
              <a:buChar char="›"/>
              <a:defRPr b="0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 Bold" panose="020B0503040200000003" pitchFamily="34" charset="0"/>
              </a:defRPr>
            </a:lvl1pPr>
            <a:lvl2pPr marL="431800" indent="-215900">
              <a:buClr>
                <a:schemeClr val="tx2"/>
              </a:buClr>
              <a:buSzPct val="125000"/>
              <a:buFont typeface="Audi Type" panose="020B0503040200000003" charset="0"/>
              <a:buChar char="›"/>
              <a:defRPr b="0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 Bold" panose="020B0503040200000003" pitchFamily="34" charset="0"/>
              </a:defRPr>
            </a:lvl2pPr>
            <a:lvl3pPr marL="647700" indent="-215900">
              <a:buClr>
                <a:schemeClr val="accent3"/>
              </a:buClr>
              <a:buSzPct val="125000"/>
              <a:buFont typeface="Audi Type" panose="020B0503040200000003" charset="0"/>
              <a:buChar char="›"/>
              <a:defRPr b="0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 Bold" panose="020B0503040200000003" pitchFamily="34" charset="0"/>
              </a:defRPr>
            </a:lvl3pPr>
            <a:lvl4pPr marL="864235" indent="-215900">
              <a:buClr>
                <a:schemeClr val="tx2"/>
              </a:buClr>
              <a:buSzPct val="125000"/>
              <a:buFont typeface="Symbol" panose="05050102010706020507" pitchFamily="18" charset="2"/>
              <a:buChar char="-"/>
              <a:defRPr b="0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 Bold" panose="020B0503040200000003" pitchFamily="34" charset="0"/>
              </a:defRPr>
            </a:lvl4pPr>
            <a:lvl5pPr marL="215900" indent="-215900">
              <a:buClr>
                <a:schemeClr val="accent6"/>
              </a:buClr>
              <a:buSzPct val="150000"/>
              <a:buFont typeface="Audi Type" panose="020B0503040200000003" charset="0"/>
              <a:buChar char="›"/>
              <a:defRPr b="0"/>
            </a:lvl5pPr>
          </a:lstStyle>
          <a:p>
            <a:pPr lvl="0"/>
            <a:r>
              <a:rPr lang="zh-CN" altLang="en-US" noProof="0" dirty="0"/>
              <a:t>编辑文本主格式</a:t>
            </a:r>
            <a:endParaRPr lang="en-US" noProof="0" dirty="0"/>
          </a:p>
          <a:p>
            <a:pPr lvl="1"/>
            <a:r>
              <a:rPr lang="zh-CN" altLang="en-US" noProof="0" dirty="0"/>
              <a:t>第二层级</a:t>
            </a:r>
            <a:endParaRPr lang="en-US" noProof="0" dirty="0"/>
          </a:p>
          <a:p>
            <a:pPr lvl="2"/>
            <a:r>
              <a:rPr lang="zh-CN" altLang="en-US" noProof="0" dirty="0"/>
              <a:t>第三层级</a:t>
            </a:r>
            <a:endParaRPr lang="en-US" noProof="0" dirty="0"/>
          </a:p>
          <a:p>
            <a:pPr lvl="3"/>
            <a:r>
              <a:rPr lang="zh-CN" altLang="en-US" noProof="0" dirty="0"/>
              <a:t>第四层级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899420" y="70998"/>
            <a:ext cx="8221127" cy="176652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/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</a:fld>
            <a:endParaRPr/>
          </a:p>
        </p:txBody>
      </p:sp>
      <p:sp>
        <p:nvSpPr>
          <p:cNvPr id="7" name="图片占位符 8"/>
          <p:cNvSpPr>
            <a:spLocks noGrp="1"/>
          </p:cNvSpPr>
          <p:nvPr>
            <p:ph type="pic" sz="quarter" idx="10" hasCustomPrompt="1"/>
          </p:nvPr>
        </p:nvSpPr>
        <p:spPr>
          <a:xfrm>
            <a:off x="2183756" y="1281571"/>
            <a:ext cx="3696182" cy="2309475"/>
          </a:xfrm>
          <a:pattFill prst="dkUpDiag">
            <a:fgClr>
              <a:schemeClr val="accent1"/>
            </a:fgClr>
            <a:bgClr>
              <a:schemeClr val="bg1"/>
            </a:bgClr>
          </a:patt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 anchorCtr="0"/>
          <a:lstStyle>
            <a:lvl1pPr algn="ctr">
              <a:defRPr/>
            </a:lvl1pPr>
          </a:lstStyle>
          <a:p>
            <a:r>
              <a:rPr kumimoji="1" lang="zh-CN" altLang="en-US" dirty="0"/>
              <a:t>图片插入位置</a:t>
            </a:r>
            <a:endParaRPr kumimoji="1" lang="en-US" altLang="zh-CN" dirty="0"/>
          </a:p>
          <a:p>
            <a:endParaRPr kumimoji="1" lang="en-US" altLang="zh-CN" dirty="0"/>
          </a:p>
          <a:p>
            <a:endParaRPr kumimoji="1" lang="zh-CN" altLang="en-US" dirty="0"/>
          </a:p>
        </p:txBody>
      </p:sp>
      <p:sp>
        <p:nvSpPr>
          <p:cNvPr id="8" name="图片占位符 8"/>
          <p:cNvSpPr>
            <a:spLocks noGrp="1"/>
          </p:cNvSpPr>
          <p:nvPr>
            <p:ph type="pic" sz="quarter" idx="11" hasCustomPrompt="1"/>
          </p:nvPr>
        </p:nvSpPr>
        <p:spPr>
          <a:xfrm>
            <a:off x="6096000" y="1281571"/>
            <a:ext cx="3696182" cy="2309475"/>
          </a:xfrm>
          <a:pattFill prst="dkUpDiag">
            <a:fgClr>
              <a:schemeClr val="accent1"/>
            </a:fgClr>
            <a:bgClr>
              <a:schemeClr val="bg1"/>
            </a:bgClr>
          </a:patt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 anchorCtr="0"/>
          <a:lstStyle>
            <a:lvl1pPr algn="ctr">
              <a:defRPr/>
            </a:lvl1pPr>
          </a:lstStyle>
          <a:p>
            <a:r>
              <a:rPr kumimoji="1" lang="zh-CN" altLang="en-US" dirty="0"/>
              <a:t>图片插入位置</a:t>
            </a:r>
            <a:endParaRPr kumimoji="1" lang="en-US" altLang="zh-CN" dirty="0"/>
          </a:p>
          <a:p>
            <a:endParaRPr kumimoji="1" lang="en-US" altLang="zh-CN" dirty="0"/>
          </a:p>
          <a:p>
            <a:endParaRPr kumimoji="1" lang="zh-CN" altLang="en-US" dirty="0"/>
          </a:p>
        </p:txBody>
      </p:sp>
      <p:sp>
        <p:nvSpPr>
          <p:cNvPr id="9" name="图片占位符 8"/>
          <p:cNvSpPr>
            <a:spLocks noGrp="1"/>
          </p:cNvSpPr>
          <p:nvPr>
            <p:ph type="pic" sz="quarter" idx="12" hasCustomPrompt="1"/>
          </p:nvPr>
        </p:nvSpPr>
        <p:spPr>
          <a:xfrm>
            <a:off x="2183756" y="3781701"/>
            <a:ext cx="3696182" cy="2309475"/>
          </a:xfrm>
          <a:pattFill prst="dkUpDiag">
            <a:fgClr>
              <a:schemeClr val="accent1"/>
            </a:fgClr>
            <a:bgClr>
              <a:schemeClr val="bg1"/>
            </a:bgClr>
          </a:patt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 anchorCtr="0"/>
          <a:lstStyle>
            <a:lvl1pPr algn="ctr">
              <a:defRPr/>
            </a:lvl1pPr>
          </a:lstStyle>
          <a:p>
            <a:r>
              <a:rPr kumimoji="1" lang="zh-CN" altLang="en-US" dirty="0"/>
              <a:t>图片插入位置</a:t>
            </a:r>
            <a:endParaRPr kumimoji="1" lang="en-US" altLang="zh-CN" dirty="0"/>
          </a:p>
          <a:p>
            <a:endParaRPr kumimoji="1" lang="en-US" altLang="zh-CN" dirty="0"/>
          </a:p>
          <a:p>
            <a:endParaRPr kumimoji="1" lang="zh-CN" altLang="en-US" dirty="0"/>
          </a:p>
        </p:txBody>
      </p:sp>
      <p:sp>
        <p:nvSpPr>
          <p:cNvPr id="10" name="图片占位符 8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3781702"/>
            <a:ext cx="3696182" cy="2309475"/>
          </a:xfrm>
          <a:pattFill prst="dkUpDiag">
            <a:fgClr>
              <a:schemeClr val="accent1"/>
            </a:fgClr>
            <a:bgClr>
              <a:schemeClr val="bg1"/>
            </a:bgClr>
          </a:patt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 anchorCtr="0"/>
          <a:lstStyle>
            <a:lvl1pPr algn="ctr">
              <a:defRPr/>
            </a:lvl1pPr>
          </a:lstStyle>
          <a:p>
            <a:r>
              <a:rPr kumimoji="1" lang="zh-CN" altLang="en-US" dirty="0"/>
              <a:t>图片插入位置</a:t>
            </a:r>
            <a:endParaRPr kumimoji="1" lang="en-US" altLang="zh-CN" dirty="0"/>
          </a:p>
          <a:p>
            <a:endParaRPr kumimoji="1" lang="en-US" altLang="zh-CN" dirty="0"/>
          </a:p>
          <a:p>
            <a:endParaRPr kumimoji="1" lang="zh-CN" alt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899420" y="70998"/>
            <a:ext cx="8221127" cy="176652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/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</a:fld>
            <a:endParaRPr/>
          </a:p>
        </p:txBody>
      </p:sp>
      <p:sp>
        <p:nvSpPr>
          <p:cNvPr id="5" name="矩形 4"/>
          <p:cNvSpPr/>
          <p:nvPr userDrawn="1"/>
        </p:nvSpPr>
        <p:spPr>
          <a:xfrm>
            <a:off x="295656" y="1192617"/>
            <a:ext cx="9535654" cy="383197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algn="ctr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r>
              <a:rPr kumimoji="1" lang="zh-CN" altLang="en-US" sz="1400" b="1" dirty="0">
                <a:solidFill>
                  <a:schemeClr val="bg1"/>
                </a:solidFill>
                <a:latin typeface="华康金刚黑 Semibold" panose="020B0600000000000000" pitchFamily="34" charset="-122"/>
                <a:ea typeface="华康金刚黑 Semibold" panose="020B0600000000000000" pitchFamily="34" charset="-122"/>
              </a:rPr>
              <a:t>标题</a:t>
            </a:r>
            <a:endParaRPr kumimoji="1" lang="zh-CN" altLang="en-US" sz="1400" b="1" dirty="0">
              <a:solidFill>
                <a:schemeClr val="bg1"/>
              </a:solidFill>
              <a:latin typeface="华康金刚黑 Semibold" panose="020B0600000000000000" pitchFamily="34" charset="-122"/>
              <a:ea typeface="华康金刚黑 Semibold" panose="020B0600000000000000" pitchFamily="34" charset="-122"/>
            </a:endParaRPr>
          </a:p>
        </p:txBody>
      </p:sp>
      <p:sp>
        <p:nvSpPr>
          <p:cNvPr id="6" name="矩形 5"/>
          <p:cNvSpPr/>
          <p:nvPr userDrawn="1"/>
        </p:nvSpPr>
        <p:spPr>
          <a:xfrm>
            <a:off x="9929018" y="1192617"/>
            <a:ext cx="1927861" cy="383197"/>
          </a:xfrm>
          <a:prstGeom prst="rect">
            <a:avLst/>
          </a:prstGeom>
          <a:solidFill>
            <a:srgbClr val="F50537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algn="ctr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r>
              <a:rPr kumimoji="1" lang="zh-CN" altLang="en-US" sz="1400" b="1" dirty="0">
                <a:solidFill>
                  <a:schemeClr val="bg1"/>
                </a:solidFill>
                <a:latin typeface="华康金刚黑 Semibold" panose="020B0600000000000000" pitchFamily="34" charset="-122"/>
                <a:ea typeface="华康金刚黑 Semibold" panose="020B0600000000000000" pitchFamily="34" charset="-122"/>
              </a:rPr>
              <a:t>标题</a:t>
            </a:r>
            <a:endParaRPr kumimoji="1" lang="zh-CN" altLang="en-US" sz="1400" b="1" dirty="0">
              <a:solidFill>
                <a:schemeClr val="bg1"/>
              </a:solidFill>
              <a:latin typeface="华康金刚黑 Semibold" panose="020B0600000000000000" pitchFamily="34" charset="-122"/>
              <a:ea typeface="华康金刚黑 Semibold" panose="020B0600000000000000" pitchFamily="34" charset="-122"/>
            </a:endParaRPr>
          </a:p>
        </p:txBody>
      </p:sp>
      <p:sp>
        <p:nvSpPr>
          <p:cNvPr id="9" name="图片占位符 8"/>
          <p:cNvSpPr>
            <a:spLocks noGrp="1"/>
          </p:cNvSpPr>
          <p:nvPr>
            <p:ph type="pic" sz="quarter" idx="10" hasCustomPrompt="1"/>
          </p:nvPr>
        </p:nvSpPr>
        <p:spPr>
          <a:xfrm>
            <a:off x="295656" y="1748099"/>
            <a:ext cx="3199898" cy="2093913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kumimoji="1" lang="zh-CN" altLang="en-US" dirty="0"/>
              <a:t>图片插入位置</a:t>
            </a:r>
            <a:endParaRPr kumimoji="1" lang="en-US" altLang="zh-CN" dirty="0"/>
          </a:p>
          <a:p>
            <a:endParaRPr kumimoji="1" lang="en-US" altLang="zh-CN" dirty="0"/>
          </a:p>
          <a:p>
            <a:endParaRPr kumimoji="1" lang="zh-CN" altLang="en-US" dirty="0"/>
          </a:p>
        </p:txBody>
      </p:sp>
      <p:sp>
        <p:nvSpPr>
          <p:cNvPr id="10" name="图片占位符 8"/>
          <p:cNvSpPr>
            <a:spLocks noGrp="1"/>
          </p:cNvSpPr>
          <p:nvPr>
            <p:ph type="pic" sz="quarter" idx="11" hasCustomPrompt="1"/>
          </p:nvPr>
        </p:nvSpPr>
        <p:spPr>
          <a:xfrm>
            <a:off x="3606016" y="1748099"/>
            <a:ext cx="3199898" cy="2093913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kumimoji="1" lang="zh-CN" altLang="en-US" dirty="0"/>
              <a:t>图片插入位置</a:t>
            </a:r>
            <a:endParaRPr kumimoji="1" lang="en-US" altLang="zh-CN" dirty="0"/>
          </a:p>
          <a:p>
            <a:endParaRPr kumimoji="1" lang="en-US" altLang="zh-CN" dirty="0"/>
          </a:p>
          <a:p>
            <a:endParaRPr kumimoji="1" lang="zh-CN" altLang="en-US" dirty="0"/>
          </a:p>
        </p:txBody>
      </p:sp>
      <p:sp>
        <p:nvSpPr>
          <p:cNvPr id="11" name="图片占位符 8"/>
          <p:cNvSpPr>
            <a:spLocks noGrp="1"/>
          </p:cNvSpPr>
          <p:nvPr>
            <p:ph type="pic" sz="quarter" idx="12" hasCustomPrompt="1"/>
          </p:nvPr>
        </p:nvSpPr>
        <p:spPr>
          <a:xfrm>
            <a:off x="6916376" y="1748099"/>
            <a:ext cx="2914934" cy="2093913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kumimoji="1" lang="zh-CN" altLang="en-US" dirty="0"/>
              <a:t>图片插入位置</a:t>
            </a:r>
            <a:endParaRPr kumimoji="1" lang="en-US" altLang="zh-CN" dirty="0"/>
          </a:p>
          <a:p>
            <a:endParaRPr kumimoji="1" lang="en-US" altLang="zh-CN" dirty="0"/>
          </a:p>
          <a:p>
            <a:endParaRPr kumimoji="1" lang="zh-CN" altLang="en-US" dirty="0"/>
          </a:p>
        </p:txBody>
      </p:sp>
      <p:sp>
        <p:nvSpPr>
          <p:cNvPr id="12" name="图片占位符 8"/>
          <p:cNvSpPr>
            <a:spLocks noGrp="1"/>
          </p:cNvSpPr>
          <p:nvPr>
            <p:ph type="pic" sz="quarter" idx="13" hasCustomPrompt="1"/>
          </p:nvPr>
        </p:nvSpPr>
        <p:spPr>
          <a:xfrm>
            <a:off x="295656" y="3970438"/>
            <a:ext cx="3199898" cy="2093913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kumimoji="1" lang="zh-CN" altLang="en-US" dirty="0"/>
              <a:t>图片插入位置</a:t>
            </a:r>
            <a:endParaRPr kumimoji="1" lang="en-US" altLang="zh-CN" dirty="0"/>
          </a:p>
          <a:p>
            <a:endParaRPr kumimoji="1" lang="en-US" altLang="zh-CN" dirty="0"/>
          </a:p>
          <a:p>
            <a:endParaRPr kumimoji="1" lang="zh-CN" altLang="en-US" dirty="0"/>
          </a:p>
        </p:txBody>
      </p:sp>
      <p:sp>
        <p:nvSpPr>
          <p:cNvPr id="13" name="图片占位符 8"/>
          <p:cNvSpPr>
            <a:spLocks noGrp="1"/>
          </p:cNvSpPr>
          <p:nvPr>
            <p:ph type="pic" sz="quarter" idx="14" hasCustomPrompt="1"/>
          </p:nvPr>
        </p:nvSpPr>
        <p:spPr>
          <a:xfrm>
            <a:off x="3606016" y="3970438"/>
            <a:ext cx="3199898" cy="2093913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kumimoji="1" lang="zh-CN" altLang="en-US" dirty="0"/>
              <a:t>图片插入位置</a:t>
            </a:r>
            <a:endParaRPr kumimoji="1" lang="en-US" altLang="zh-CN" dirty="0"/>
          </a:p>
          <a:p>
            <a:endParaRPr kumimoji="1" lang="en-US" altLang="zh-CN" dirty="0"/>
          </a:p>
          <a:p>
            <a:endParaRPr kumimoji="1" lang="zh-CN" altLang="en-US" dirty="0"/>
          </a:p>
        </p:txBody>
      </p:sp>
      <p:sp>
        <p:nvSpPr>
          <p:cNvPr id="14" name="图片占位符 8"/>
          <p:cNvSpPr>
            <a:spLocks noGrp="1"/>
          </p:cNvSpPr>
          <p:nvPr>
            <p:ph type="pic" sz="quarter" idx="15" hasCustomPrompt="1"/>
          </p:nvPr>
        </p:nvSpPr>
        <p:spPr>
          <a:xfrm>
            <a:off x="6916376" y="3970438"/>
            <a:ext cx="2914934" cy="2093913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kumimoji="1" lang="zh-CN" altLang="en-US" dirty="0"/>
              <a:t>图片插入位置</a:t>
            </a:r>
            <a:endParaRPr kumimoji="1" lang="en-US" altLang="zh-CN" dirty="0"/>
          </a:p>
          <a:p>
            <a:endParaRPr kumimoji="1" lang="en-US" altLang="zh-CN" dirty="0"/>
          </a:p>
          <a:p>
            <a:endParaRPr kumimoji="1" lang="zh-CN" altLang="en-US" dirty="0"/>
          </a:p>
        </p:txBody>
      </p:sp>
      <p:sp>
        <p:nvSpPr>
          <p:cNvPr id="15" name="图片占位符 8"/>
          <p:cNvSpPr>
            <a:spLocks noGrp="1"/>
          </p:cNvSpPr>
          <p:nvPr>
            <p:ph type="pic" sz="quarter" idx="16" hasCustomPrompt="1"/>
          </p:nvPr>
        </p:nvSpPr>
        <p:spPr>
          <a:xfrm>
            <a:off x="9929017" y="1748099"/>
            <a:ext cx="1927861" cy="2093913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kumimoji="1" lang="zh-CN" altLang="en-US" dirty="0"/>
              <a:t>图片插入位置</a:t>
            </a:r>
            <a:endParaRPr kumimoji="1" lang="en-US" altLang="zh-CN" dirty="0"/>
          </a:p>
          <a:p>
            <a:endParaRPr kumimoji="1" lang="en-US" altLang="zh-CN" dirty="0"/>
          </a:p>
          <a:p>
            <a:endParaRPr kumimoji="1" lang="zh-CN" altLang="en-US" dirty="0"/>
          </a:p>
        </p:txBody>
      </p:sp>
      <p:sp>
        <p:nvSpPr>
          <p:cNvPr id="16" name="图片占位符 8"/>
          <p:cNvSpPr>
            <a:spLocks noGrp="1"/>
          </p:cNvSpPr>
          <p:nvPr>
            <p:ph type="pic" sz="quarter" idx="17" hasCustomPrompt="1"/>
          </p:nvPr>
        </p:nvSpPr>
        <p:spPr>
          <a:xfrm>
            <a:off x="9929017" y="3970437"/>
            <a:ext cx="1927861" cy="2093913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kumimoji="1" lang="zh-CN" altLang="en-US" dirty="0"/>
              <a:t>图片插入位置</a:t>
            </a:r>
            <a:endParaRPr kumimoji="1" lang="en-US" altLang="zh-CN" dirty="0"/>
          </a:p>
          <a:p>
            <a:endParaRPr kumimoji="1" lang="en-US" altLang="zh-CN" dirty="0"/>
          </a:p>
          <a:p>
            <a:endParaRPr kumimoji="1" lang="zh-CN" alt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osing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2385646" y="3140329"/>
            <a:ext cx="9232900" cy="1046723"/>
          </a:xfrm>
          <a:prstGeom prst="rect">
            <a:avLst/>
          </a:prstGeom>
          <a:noFill/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algn="r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</a:pPr>
            <a:r>
              <a:rPr lang="en-GB" sz="6800" b="1" i="0" baseline="0" noProof="0" dirty="0">
                <a:solidFill>
                  <a:schemeClr val="tx1"/>
                </a:solidFill>
                <a:latin typeface="Audi Type Extended" panose="020B0505040200000003" pitchFamily="34" charset="0"/>
                <a:ea typeface="华康金刚黑" panose="020B0400000000000000" pitchFamily="34" charset="-122"/>
                <a:cs typeface="Audi Type Extended" panose="020B0505040200000003" pitchFamily="34" charset="0"/>
              </a:rPr>
              <a:t>Thank you!</a:t>
            </a:r>
            <a:endParaRPr lang="en-GB" sz="6800" b="1" i="0" baseline="0" noProof="0" dirty="0">
              <a:solidFill>
                <a:schemeClr val="tx1"/>
              </a:solidFill>
              <a:latin typeface="Audi Type Extended" panose="020B0505040200000003" pitchFamily="34" charset="0"/>
              <a:ea typeface="华康金刚黑" panose="020B0400000000000000" pitchFamily="34" charset="-122"/>
              <a:cs typeface="Audi Type Extended" panose="020B0505040200000003" pitchFamily="34" charset="0"/>
            </a:endParaRPr>
          </a:p>
        </p:txBody>
      </p:sp>
      <p:sp>
        <p:nvSpPr>
          <p:cNvPr id="14" name="Freihandform 13"/>
          <p:cNvSpPr/>
          <p:nvPr userDrawn="1"/>
        </p:nvSpPr>
        <p:spPr>
          <a:xfrm>
            <a:off x="0" y="1"/>
            <a:ext cx="12192000" cy="6858001"/>
          </a:xfrm>
          <a:custGeom>
            <a:avLst/>
            <a:gdLst>
              <a:gd name="connsiteX0" fmla="*/ 11850404 w 12192000"/>
              <a:gd name="connsiteY0" fmla="*/ 6343656 h 6858001"/>
              <a:gd name="connsiteX1" fmla="*/ 12192000 w 12192000"/>
              <a:gd name="connsiteY1" fmla="*/ 6343656 h 6858001"/>
              <a:gd name="connsiteX2" fmla="*/ 12192000 w 12192000"/>
              <a:gd name="connsiteY2" fmla="*/ 6858001 h 6858001"/>
              <a:gd name="connsiteX3" fmla="*/ 11850404 w 12192000"/>
              <a:gd name="connsiteY3" fmla="*/ 6858001 h 6858001"/>
              <a:gd name="connsiteX4" fmla="*/ 7108908 w 12192000"/>
              <a:gd name="connsiteY4" fmla="*/ 5391063 h 6858001"/>
              <a:gd name="connsiteX5" fmla="*/ 6839831 w 12192000"/>
              <a:gd name="connsiteY5" fmla="*/ 5430386 h 6858001"/>
              <a:gd name="connsiteX6" fmla="*/ 6631728 w 12192000"/>
              <a:gd name="connsiteY6" fmla="*/ 5543496 h 6858001"/>
              <a:gd name="connsiteX7" fmla="*/ 6497853 w 12192000"/>
              <a:gd name="connsiteY7" fmla="*/ 5722438 h 6858001"/>
              <a:gd name="connsiteX8" fmla="*/ 6450577 w 12192000"/>
              <a:gd name="connsiteY8" fmla="*/ 5959261 h 6858001"/>
              <a:gd name="connsiteX9" fmla="*/ 6497853 w 12192000"/>
              <a:gd name="connsiteY9" fmla="*/ 6196968 h 6858001"/>
              <a:gd name="connsiteX10" fmla="*/ 6631728 w 12192000"/>
              <a:gd name="connsiteY10" fmla="*/ 6377236 h 6858001"/>
              <a:gd name="connsiteX11" fmla="*/ 6839831 w 12192000"/>
              <a:gd name="connsiteY11" fmla="*/ 6491229 h 6858001"/>
              <a:gd name="connsiteX12" fmla="*/ 7108908 w 12192000"/>
              <a:gd name="connsiteY12" fmla="*/ 6530994 h 6858001"/>
              <a:gd name="connsiteX13" fmla="*/ 7378868 w 12192000"/>
              <a:gd name="connsiteY13" fmla="*/ 6491671 h 6858001"/>
              <a:gd name="connsiteX14" fmla="*/ 7586973 w 12192000"/>
              <a:gd name="connsiteY14" fmla="*/ 6379003 h 6858001"/>
              <a:gd name="connsiteX15" fmla="*/ 7720847 w 12192000"/>
              <a:gd name="connsiteY15" fmla="*/ 6200060 h 6858001"/>
              <a:gd name="connsiteX16" fmla="*/ 7768124 w 12192000"/>
              <a:gd name="connsiteY16" fmla="*/ 5962796 h 6858001"/>
              <a:gd name="connsiteX17" fmla="*/ 7720847 w 12192000"/>
              <a:gd name="connsiteY17" fmla="*/ 5725531 h 6858001"/>
              <a:gd name="connsiteX18" fmla="*/ 7586973 w 12192000"/>
              <a:gd name="connsiteY18" fmla="*/ 5545705 h 6858001"/>
              <a:gd name="connsiteX19" fmla="*/ 7378868 w 12192000"/>
              <a:gd name="connsiteY19" fmla="*/ 5431270 h 6858001"/>
              <a:gd name="connsiteX20" fmla="*/ 7108908 w 12192000"/>
              <a:gd name="connsiteY20" fmla="*/ 5391063 h 6858001"/>
              <a:gd name="connsiteX21" fmla="*/ 8852596 w 12192000"/>
              <a:gd name="connsiteY21" fmla="*/ 5033178 h 6858001"/>
              <a:gd name="connsiteX22" fmla="*/ 9420793 w 12192000"/>
              <a:gd name="connsiteY22" fmla="*/ 5033178 h 6858001"/>
              <a:gd name="connsiteX23" fmla="*/ 9420793 w 12192000"/>
              <a:gd name="connsiteY23" fmla="*/ 6053814 h 6858001"/>
              <a:gd name="connsiteX24" fmla="*/ 9448187 w 12192000"/>
              <a:gd name="connsiteY24" fmla="*/ 6257057 h 6858001"/>
              <a:gd name="connsiteX25" fmla="*/ 9534345 w 12192000"/>
              <a:gd name="connsiteY25" fmla="*/ 6400653 h 6858001"/>
              <a:gd name="connsiteX26" fmla="*/ 9685010 w 12192000"/>
              <a:gd name="connsiteY26" fmla="*/ 6485485 h 6858001"/>
              <a:gd name="connsiteX27" fmla="*/ 9905927 w 12192000"/>
              <a:gd name="connsiteY27" fmla="*/ 6513320 h 6858001"/>
              <a:gd name="connsiteX28" fmla="*/ 10070289 w 12192000"/>
              <a:gd name="connsiteY28" fmla="*/ 6503158 h 6858001"/>
              <a:gd name="connsiteX29" fmla="*/ 10219187 w 12192000"/>
              <a:gd name="connsiteY29" fmla="*/ 6473555 h 6858001"/>
              <a:gd name="connsiteX30" fmla="*/ 10356597 w 12192000"/>
              <a:gd name="connsiteY30" fmla="*/ 6424954 h 6858001"/>
              <a:gd name="connsiteX31" fmla="*/ 10488263 w 12192000"/>
              <a:gd name="connsiteY31" fmla="*/ 6357795 h 6858001"/>
              <a:gd name="connsiteX32" fmla="*/ 10488263 w 12192000"/>
              <a:gd name="connsiteY32" fmla="*/ 5033178 h 6858001"/>
              <a:gd name="connsiteX33" fmla="*/ 11056461 w 12192000"/>
              <a:gd name="connsiteY33" fmla="*/ 5033178 h 6858001"/>
              <a:gd name="connsiteX34" fmla="*/ 11056461 w 12192000"/>
              <a:gd name="connsiteY34" fmla="*/ 6858001 h 6858001"/>
              <a:gd name="connsiteX35" fmla="*/ 10553737 w 12192000"/>
              <a:gd name="connsiteY35" fmla="*/ 6858001 h 6858001"/>
              <a:gd name="connsiteX36" fmla="*/ 10520959 w 12192000"/>
              <a:gd name="connsiteY36" fmla="*/ 6687403 h 6858001"/>
              <a:gd name="connsiteX37" fmla="*/ 10375154 w 12192000"/>
              <a:gd name="connsiteY37" fmla="*/ 6791234 h 6858001"/>
              <a:gd name="connsiteX38" fmla="*/ 10225477 w 12192000"/>
              <a:gd name="connsiteY38" fmla="*/ 6858001 h 6858001"/>
              <a:gd name="connsiteX39" fmla="*/ 9262452 w 12192000"/>
              <a:gd name="connsiteY39" fmla="*/ 6858001 h 6858001"/>
              <a:gd name="connsiteX40" fmla="*/ 9219759 w 12192000"/>
              <a:gd name="connsiteY40" fmla="*/ 6839504 h 6858001"/>
              <a:gd name="connsiteX41" fmla="*/ 9130067 w 12192000"/>
              <a:gd name="connsiteY41" fmla="*/ 6785048 h 6858001"/>
              <a:gd name="connsiteX42" fmla="*/ 8982936 w 12192000"/>
              <a:gd name="connsiteY42" fmla="*/ 6633499 h 6858001"/>
              <a:gd name="connsiteX43" fmla="*/ 8887059 w 12192000"/>
              <a:gd name="connsiteY43" fmla="*/ 6417001 h 6858001"/>
              <a:gd name="connsiteX44" fmla="*/ 8852596 w 12192000"/>
              <a:gd name="connsiteY44" fmla="*/ 6126274 h 6858001"/>
              <a:gd name="connsiteX45" fmla="*/ 3225611 w 12192000"/>
              <a:gd name="connsiteY45" fmla="*/ 5033178 h 6858001"/>
              <a:gd name="connsiteX46" fmla="*/ 3840643 w 12192000"/>
              <a:gd name="connsiteY46" fmla="*/ 5033178 h 6858001"/>
              <a:gd name="connsiteX47" fmla="*/ 4346624 w 12192000"/>
              <a:gd name="connsiteY47" fmla="*/ 6097113 h 6858001"/>
              <a:gd name="connsiteX48" fmla="*/ 4410215 w 12192000"/>
              <a:gd name="connsiteY48" fmla="*/ 6230989 h 6858001"/>
              <a:gd name="connsiteX49" fmla="*/ 4473789 w 12192000"/>
              <a:gd name="connsiteY49" fmla="*/ 6364864 h 6858001"/>
              <a:gd name="connsiteX50" fmla="*/ 4536137 w 12192000"/>
              <a:gd name="connsiteY50" fmla="*/ 6232756 h 6858001"/>
              <a:gd name="connsiteX51" fmla="*/ 4599354 w 12192000"/>
              <a:gd name="connsiteY51" fmla="*/ 6098881 h 6858001"/>
              <a:gd name="connsiteX52" fmla="*/ 5104288 w 12192000"/>
              <a:gd name="connsiteY52" fmla="*/ 5033178 h 6858001"/>
              <a:gd name="connsiteX53" fmla="*/ 5693693 w 12192000"/>
              <a:gd name="connsiteY53" fmla="*/ 5033178 h 6858001"/>
              <a:gd name="connsiteX54" fmla="*/ 4772955 w 12192000"/>
              <a:gd name="connsiteY54" fmla="*/ 6858001 h 6858001"/>
              <a:gd name="connsiteX55" fmla="*/ 4148574 w 12192000"/>
              <a:gd name="connsiteY55" fmla="*/ 6858001 h 6858001"/>
              <a:gd name="connsiteX56" fmla="*/ 7109351 w 12192000"/>
              <a:gd name="connsiteY56" fmla="*/ 4974856 h 6858001"/>
              <a:gd name="connsiteX57" fmla="*/ 7481504 w 12192000"/>
              <a:gd name="connsiteY57" fmla="*/ 5004459 h 6858001"/>
              <a:gd name="connsiteX58" fmla="*/ 7790457 w 12192000"/>
              <a:gd name="connsiteY58" fmla="*/ 5091942 h 6858001"/>
              <a:gd name="connsiteX59" fmla="*/ 8033555 w 12192000"/>
              <a:gd name="connsiteY59" fmla="*/ 5234212 h 6858001"/>
              <a:gd name="connsiteX60" fmla="*/ 8209024 w 12192000"/>
              <a:gd name="connsiteY60" fmla="*/ 5428619 h 6858001"/>
              <a:gd name="connsiteX61" fmla="*/ 8315541 w 12192000"/>
              <a:gd name="connsiteY61" fmla="*/ 5672511 h 6858001"/>
              <a:gd name="connsiteX62" fmla="*/ 8351342 w 12192000"/>
              <a:gd name="connsiteY62" fmla="*/ 5962796 h 6858001"/>
              <a:gd name="connsiteX63" fmla="*/ 8315099 w 12192000"/>
              <a:gd name="connsiteY63" fmla="*/ 6243360 h 6858001"/>
              <a:gd name="connsiteX64" fmla="*/ 8207692 w 12192000"/>
              <a:gd name="connsiteY64" fmla="*/ 6483718 h 6858001"/>
              <a:gd name="connsiteX65" fmla="*/ 8031339 w 12192000"/>
              <a:gd name="connsiteY65" fmla="*/ 6679450 h 6858001"/>
              <a:gd name="connsiteX66" fmla="*/ 7788249 w 12192000"/>
              <a:gd name="connsiteY66" fmla="*/ 6825697 h 6858001"/>
              <a:gd name="connsiteX67" fmla="*/ 7698566 w 12192000"/>
              <a:gd name="connsiteY67" fmla="*/ 6858001 h 6858001"/>
              <a:gd name="connsiteX68" fmla="*/ 6508023 w 12192000"/>
              <a:gd name="connsiteY68" fmla="*/ 6858001 h 6858001"/>
              <a:gd name="connsiteX69" fmla="*/ 6430452 w 12192000"/>
              <a:gd name="connsiteY69" fmla="*/ 6830999 h 6858001"/>
              <a:gd name="connsiteX70" fmla="*/ 6187362 w 12192000"/>
              <a:gd name="connsiteY70" fmla="*/ 6688728 h 6858001"/>
              <a:gd name="connsiteX71" fmla="*/ 6011008 w 12192000"/>
              <a:gd name="connsiteY71" fmla="*/ 6494322 h 6858001"/>
              <a:gd name="connsiteX72" fmla="*/ 5903602 w 12192000"/>
              <a:gd name="connsiteY72" fmla="*/ 6249988 h 6858001"/>
              <a:gd name="connsiteX73" fmla="*/ 5867355 w 12192000"/>
              <a:gd name="connsiteY73" fmla="*/ 5959261 h 6858001"/>
              <a:gd name="connsiteX74" fmla="*/ 5903602 w 12192000"/>
              <a:gd name="connsiteY74" fmla="*/ 5679139 h 6858001"/>
              <a:gd name="connsiteX75" fmla="*/ 6011008 w 12192000"/>
              <a:gd name="connsiteY75" fmla="*/ 5438781 h 6858001"/>
              <a:gd name="connsiteX76" fmla="*/ 6187362 w 12192000"/>
              <a:gd name="connsiteY76" fmla="*/ 5243049 h 6858001"/>
              <a:gd name="connsiteX77" fmla="*/ 6430452 w 12192000"/>
              <a:gd name="connsiteY77" fmla="*/ 5097244 h 6858001"/>
              <a:gd name="connsiteX78" fmla="*/ 6738520 w 12192000"/>
              <a:gd name="connsiteY78" fmla="*/ 5006226 h 6858001"/>
              <a:gd name="connsiteX79" fmla="*/ 7109351 w 12192000"/>
              <a:gd name="connsiteY79" fmla="*/ 4974856 h 6858001"/>
              <a:gd name="connsiteX80" fmla="*/ 11857474 w 12192000"/>
              <a:gd name="connsiteY80" fmla="*/ 4268806 h 6858001"/>
              <a:gd name="connsiteX81" fmla="*/ 12192000 w 12192000"/>
              <a:gd name="connsiteY81" fmla="*/ 4268806 h 6858001"/>
              <a:gd name="connsiteX82" fmla="*/ 12192000 w 12192000"/>
              <a:gd name="connsiteY82" fmla="*/ 6064418 h 6858001"/>
              <a:gd name="connsiteX83" fmla="*/ 11976769 w 12192000"/>
              <a:gd name="connsiteY83" fmla="*/ 6064418 h 6858001"/>
              <a:gd name="connsiteX84" fmla="*/ 11921981 w 12192000"/>
              <a:gd name="connsiteY84" fmla="*/ 5724206 h 6858001"/>
              <a:gd name="connsiteX85" fmla="*/ 11907401 w 12192000"/>
              <a:gd name="connsiteY85" fmla="*/ 5621259 h 6858001"/>
              <a:gd name="connsiteX86" fmla="*/ 11892820 w 12192000"/>
              <a:gd name="connsiteY86" fmla="*/ 5492685 h 6858001"/>
              <a:gd name="connsiteX87" fmla="*/ 11879124 w 12192000"/>
              <a:gd name="connsiteY87" fmla="*/ 5348647 h 6858001"/>
              <a:gd name="connsiteX88" fmla="*/ 11867636 w 12192000"/>
              <a:gd name="connsiteY88" fmla="*/ 5197982 h 6858001"/>
              <a:gd name="connsiteX89" fmla="*/ 11860125 w 12192000"/>
              <a:gd name="connsiteY89" fmla="*/ 5049968 h 6858001"/>
              <a:gd name="connsiteX90" fmla="*/ 11857474 w 12192000"/>
              <a:gd name="connsiteY90" fmla="*/ 4913883 h 6858001"/>
              <a:gd name="connsiteX91" fmla="*/ 6237222 w 12192000"/>
              <a:gd name="connsiteY91" fmla="*/ 1579807 h 6858001"/>
              <a:gd name="connsiteX92" fmla="*/ 5920869 w 12192000"/>
              <a:gd name="connsiteY92" fmla="*/ 1592621 h 6858001"/>
              <a:gd name="connsiteX93" fmla="*/ 5705254 w 12192000"/>
              <a:gd name="connsiteY93" fmla="*/ 1634595 h 6858001"/>
              <a:gd name="connsiteX94" fmla="*/ 5581983 w 12192000"/>
              <a:gd name="connsiteY94" fmla="*/ 1710148 h 6858001"/>
              <a:gd name="connsiteX95" fmla="*/ 5542661 w 12192000"/>
              <a:gd name="connsiteY95" fmla="*/ 1822816 h 6858001"/>
              <a:gd name="connsiteX96" fmla="*/ 5562984 w 12192000"/>
              <a:gd name="connsiteY96" fmla="*/ 1908532 h 6858001"/>
              <a:gd name="connsiteX97" fmla="*/ 5627051 w 12192000"/>
              <a:gd name="connsiteY97" fmla="*/ 1980109 h 6858001"/>
              <a:gd name="connsiteX98" fmla="*/ 5739718 w 12192000"/>
              <a:gd name="connsiteY98" fmla="*/ 2029152 h 6858001"/>
              <a:gd name="connsiteX99" fmla="*/ 5904964 w 12192000"/>
              <a:gd name="connsiteY99" fmla="*/ 2047267 h 6858001"/>
              <a:gd name="connsiteX100" fmla="*/ 6098043 w 12192000"/>
              <a:gd name="connsiteY100" fmla="*/ 2034896 h 6858001"/>
              <a:gd name="connsiteX101" fmla="*/ 6263289 w 12192000"/>
              <a:gd name="connsiteY101" fmla="*/ 2000433 h 6858001"/>
              <a:gd name="connsiteX102" fmla="*/ 6404677 w 12192000"/>
              <a:gd name="connsiteY102" fmla="*/ 1947855 h 6858001"/>
              <a:gd name="connsiteX103" fmla="*/ 6527065 w 12192000"/>
              <a:gd name="connsiteY103" fmla="*/ 1880254 h 6858001"/>
              <a:gd name="connsiteX104" fmla="*/ 6527065 w 12192000"/>
              <a:gd name="connsiteY104" fmla="*/ 1579807 h 6858001"/>
              <a:gd name="connsiteX105" fmla="*/ 9064454 w 12192000"/>
              <a:gd name="connsiteY105" fmla="*/ 450481 h 6858001"/>
              <a:gd name="connsiteX106" fmla="*/ 9305695 w 12192000"/>
              <a:gd name="connsiteY106" fmla="*/ 465503 h 6858001"/>
              <a:gd name="connsiteX107" fmla="*/ 9527053 w 12192000"/>
              <a:gd name="connsiteY107" fmla="*/ 516314 h 6858001"/>
              <a:gd name="connsiteX108" fmla="*/ 9717482 w 12192000"/>
              <a:gd name="connsiteY108" fmla="*/ 612634 h 6858001"/>
              <a:gd name="connsiteX109" fmla="*/ 9866380 w 12192000"/>
              <a:gd name="connsiteY109" fmla="*/ 764625 h 6858001"/>
              <a:gd name="connsiteX110" fmla="*/ 9963584 w 12192000"/>
              <a:gd name="connsiteY110" fmla="*/ 981565 h 6858001"/>
              <a:gd name="connsiteX111" fmla="*/ 9998488 w 12192000"/>
              <a:gd name="connsiteY111" fmla="*/ 1272291 h 6858001"/>
              <a:gd name="connsiteX112" fmla="*/ 9998488 w 12192000"/>
              <a:gd name="connsiteY112" fmla="*/ 2365387 h 6858001"/>
              <a:gd name="connsiteX113" fmla="*/ 9430292 w 12192000"/>
              <a:gd name="connsiteY113" fmla="*/ 2365387 h 6858001"/>
              <a:gd name="connsiteX114" fmla="*/ 9430292 w 12192000"/>
              <a:gd name="connsiteY114" fmla="*/ 1344752 h 6858001"/>
              <a:gd name="connsiteX115" fmla="*/ 9402898 w 12192000"/>
              <a:gd name="connsiteY115" fmla="*/ 1141951 h 6858001"/>
              <a:gd name="connsiteX116" fmla="*/ 9316740 w 12192000"/>
              <a:gd name="connsiteY116" fmla="*/ 998796 h 6858001"/>
              <a:gd name="connsiteX117" fmla="*/ 9166075 w 12192000"/>
              <a:gd name="connsiteY117" fmla="*/ 913522 h 6858001"/>
              <a:gd name="connsiteX118" fmla="*/ 8945158 w 12192000"/>
              <a:gd name="connsiteY118" fmla="*/ 885245 h 6858001"/>
              <a:gd name="connsiteX119" fmla="*/ 8755169 w 12192000"/>
              <a:gd name="connsiteY119" fmla="*/ 898058 h 6858001"/>
              <a:gd name="connsiteX120" fmla="*/ 8589923 w 12192000"/>
              <a:gd name="connsiteY120" fmla="*/ 932079 h 6858001"/>
              <a:gd name="connsiteX121" fmla="*/ 8445885 w 12192000"/>
              <a:gd name="connsiteY121" fmla="*/ 981565 h 6858001"/>
              <a:gd name="connsiteX122" fmla="*/ 8318637 w 12192000"/>
              <a:gd name="connsiteY122" fmla="*/ 1040771 h 6858001"/>
              <a:gd name="connsiteX123" fmla="*/ 8318637 w 12192000"/>
              <a:gd name="connsiteY123" fmla="*/ 2365387 h 6858001"/>
              <a:gd name="connsiteX124" fmla="*/ 7750441 w 12192000"/>
              <a:gd name="connsiteY124" fmla="*/ 2365387 h 6858001"/>
              <a:gd name="connsiteX125" fmla="*/ 7750441 w 12192000"/>
              <a:gd name="connsiteY125" fmla="*/ 508803 h 6858001"/>
              <a:gd name="connsiteX126" fmla="*/ 8247060 w 12192000"/>
              <a:gd name="connsiteY126" fmla="*/ 508803 h 6858001"/>
              <a:gd name="connsiteX127" fmla="*/ 8286825 w 12192000"/>
              <a:gd name="connsiteY127" fmla="*/ 721767 h 6858001"/>
              <a:gd name="connsiteX128" fmla="*/ 8443234 w 12192000"/>
              <a:gd name="connsiteY128" fmla="*/ 607774 h 6858001"/>
              <a:gd name="connsiteX129" fmla="*/ 8627037 w 12192000"/>
              <a:gd name="connsiteY129" fmla="*/ 522500 h 6858001"/>
              <a:gd name="connsiteX130" fmla="*/ 8835141 w 12192000"/>
              <a:gd name="connsiteY130" fmla="*/ 469038 h 6858001"/>
              <a:gd name="connsiteX131" fmla="*/ 9064454 w 12192000"/>
              <a:gd name="connsiteY131" fmla="*/ 450481 h 6858001"/>
              <a:gd name="connsiteX132" fmla="*/ 6005701 w 12192000"/>
              <a:gd name="connsiteY132" fmla="*/ 450481 h 6858001"/>
              <a:gd name="connsiteX133" fmla="*/ 6462115 w 12192000"/>
              <a:gd name="connsiteY133" fmla="*/ 492897 h 6858001"/>
              <a:gd name="connsiteX134" fmla="*/ 6799675 w 12192000"/>
              <a:gd name="connsiteY134" fmla="*/ 627214 h 6858001"/>
              <a:gd name="connsiteX135" fmla="*/ 7009105 w 12192000"/>
              <a:gd name="connsiteY135" fmla="*/ 864037 h 6858001"/>
              <a:gd name="connsiteX136" fmla="*/ 7081124 w 12192000"/>
              <a:gd name="connsiteY136" fmla="*/ 1213969 h 6858001"/>
              <a:gd name="connsiteX137" fmla="*/ 7081124 w 12192000"/>
              <a:gd name="connsiteY137" fmla="*/ 2365387 h 6858001"/>
              <a:gd name="connsiteX138" fmla="*/ 6592456 w 12192000"/>
              <a:gd name="connsiteY138" fmla="*/ 2365387 h 6858001"/>
              <a:gd name="connsiteX139" fmla="*/ 6556225 w 12192000"/>
              <a:gd name="connsiteY139" fmla="*/ 2177166 h 6858001"/>
              <a:gd name="connsiteX140" fmla="*/ 6402467 w 12192000"/>
              <a:gd name="connsiteY140" fmla="*/ 2281439 h 6858001"/>
              <a:gd name="connsiteX141" fmla="*/ 6219107 w 12192000"/>
              <a:gd name="connsiteY141" fmla="*/ 2358760 h 6858001"/>
              <a:gd name="connsiteX142" fmla="*/ 6007909 w 12192000"/>
              <a:gd name="connsiteY142" fmla="*/ 2406920 h 6858001"/>
              <a:gd name="connsiteX143" fmla="*/ 5770647 w 12192000"/>
              <a:gd name="connsiteY143" fmla="*/ 2423709 h 6858001"/>
              <a:gd name="connsiteX144" fmla="*/ 5432645 w 12192000"/>
              <a:gd name="connsiteY144" fmla="*/ 2385712 h 6858001"/>
              <a:gd name="connsiteX145" fmla="*/ 5178590 w 12192000"/>
              <a:gd name="connsiteY145" fmla="*/ 2273928 h 6858001"/>
              <a:gd name="connsiteX146" fmla="*/ 5019088 w 12192000"/>
              <a:gd name="connsiteY146" fmla="*/ 2091892 h 6858001"/>
              <a:gd name="connsiteX147" fmla="*/ 4963859 w 12192000"/>
              <a:gd name="connsiteY147" fmla="*/ 1844024 h 6858001"/>
              <a:gd name="connsiteX148" fmla="*/ 5004067 w 12192000"/>
              <a:gd name="connsiteY148" fmla="*/ 1639013 h 6858001"/>
              <a:gd name="connsiteX149" fmla="*/ 5118943 w 12192000"/>
              <a:gd name="connsiteY149" fmla="*/ 1483488 h 6858001"/>
              <a:gd name="connsiteX150" fmla="*/ 5299651 w 12192000"/>
              <a:gd name="connsiteY150" fmla="*/ 1371704 h 6858001"/>
              <a:gd name="connsiteX151" fmla="*/ 5537358 w 12192000"/>
              <a:gd name="connsiteY151" fmla="*/ 1298359 h 6858001"/>
              <a:gd name="connsiteX152" fmla="*/ 5823667 w 12192000"/>
              <a:gd name="connsiteY152" fmla="*/ 1258594 h 6858001"/>
              <a:gd name="connsiteX153" fmla="*/ 6150624 w 12192000"/>
              <a:gd name="connsiteY153" fmla="*/ 1246665 h 6858001"/>
              <a:gd name="connsiteX154" fmla="*/ 6288915 w 12192000"/>
              <a:gd name="connsiteY154" fmla="*/ 1248432 h 6858001"/>
              <a:gd name="connsiteX155" fmla="*/ 6413954 w 12192000"/>
              <a:gd name="connsiteY155" fmla="*/ 1252851 h 6858001"/>
              <a:gd name="connsiteX156" fmla="*/ 6527065 w 12192000"/>
              <a:gd name="connsiteY156" fmla="*/ 1258153 h 6858001"/>
              <a:gd name="connsiteX157" fmla="*/ 6527065 w 12192000"/>
              <a:gd name="connsiteY157" fmla="*/ 1254618 h 6858001"/>
              <a:gd name="connsiteX158" fmla="*/ 6489951 w 12192000"/>
              <a:gd name="connsiteY158" fmla="*/ 1086280 h 6858001"/>
              <a:gd name="connsiteX159" fmla="*/ 6379933 w 12192000"/>
              <a:gd name="connsiteY159" fmla="*/ 970519 h 6858001"/>
              <a:gd name="connsiteX160" fmla="*/ 6198782 w 12192000"/>
              <a:gd name="connsiteY160" fmla="*/ 903360 h 6858001"/>
              <a:gd name="connsiteX161" fmla="*/ 5948264 w 12192000"/>
              <a:gd name="connsiteY161" fmla="*/ 881710 h 6858001"/>
              <a:gd name="connsiteX162" fmla="*/ 5722044 w 12192000"/>
              <a:gd name="connsiteY162" fmla="*/ 893198 h 6858001"/>
              <a:gd name="connsiteX163" fmla="*/ 5515708 w 12192000"/>
              <a:gd name="connsiteY163" fmla="*/ 925010 h 6858001"/>
              <a:gd name="connsiteX164" fmla="*/ 5328371 w 12192000"/>
              <a:gd name="connsiteY164" fmla="*/ 973170 h 6858001"/>
              <a:gd name="connsiteX165" fmla="*/ 5159149 w 12192000"/>
              <a:gd name="connsiteY165" fmla="*/ 1033701 h 6858001"/>
              <a:gd name="connsiteX166" fmla="*/ 5159149 w 12192000"/>
              <a:gd name="connsiteY166" fmla="*/ 628098 h 6858001"/>
              <a:gd name="connsiteX167" fmla="*/ 5332347 w 12192000"/>
              <a:gd name="connsiteY167" fmla="*/ 555637 h 6858001"/>
              <a:gd name="connsiteX168" fmla="*/ 5534707 w 12192000"/>
              <a:gd name="connsiteY168" fmla="*/ 499524 h 6858001"/>
              <a:gd name="connsiteX169" fmla="*/ 5760925 w 12192000"/>
              <a:gd name="connsiteY169" fmla="*/ 463294 h 6858001"/>
              <a:gd name="connsiteX170" fmla="*/ 6005701 w 12192000"/>
              <a:gd name="connsiteY170" fmla="*/ 450481 h 6858001"/>
              <a:gd name="connsiteX171" fmla="*/ 10655566 w 12192000"/>
              <a:gd name="connsiteY171" fmla="*/ 0 h 6858001"/>
              <a:gd name="connsiteX172" fmla="*/ 11223764 w 12192000"/>
              <a:gd name="connsiteY172" fmla="*/ 0 h 6858001"/>
              <a:gd name="connsiteX173" fmla="*/ 11223764 w 12192000"/>
              <a:gd name="connsiteY173" fmla="*/ 1264835 h 6858001"/>
              <a:gd name="connsiteX174" fmla="*/ 12147194 w 12192000"/>
              <a:gd name="connsiteY174" fmla="*/ 508803 h 6858001"/>
              <a:gd name="connsiteX175" fmla="*/ 12192000 w 12192000"/>
              <a:gd name="connsiteY175" fmla="*/ 508803 h 6858001"/>
              <a:gd name="connsiteX176" fmla="*/ 12192000 w 12192000"/>
              <a:gd name="connsiteY176" fmla="*/ 1066049 h 6858001"/>
              <a:gd name="connsiteX177" fmla="*/ 12057060 w 12192000"/>
              <a:gd name="connsiteY177" fmla="*/ 1173859 h 6858001"/>
              <a:gd name="connsiteX178" fmla="*/ 11992111 w 12192000"/>
              <a:gd name="connsiteY178" fmla="*/ 1225098 h 6858001"/>
              <a:gd name="connsiteX179" fmla="*/ 11928045 w 12192000"/>
              <a:gd name="connsiteY179" fmla="*/ 1275881 h 6858001"/>
              <a:gd name="connsiteX180" fmla="*/ 11864421 w 12192000"/>
              <a:gd name="connsiteY180" fmla="*/ 1326223 h 6858001"/>
              <a:gd name="connsiteX181" fmla="*/ 11799913 w 12192000"/>
              <a:gd name="connsiteY181" fmla="*/ 1377006 h 6858001"/>
              <a:gd name="connsiteX182" fmla="*/ 11862654 w 12192000"/>
              <a:gd name="connsiteY182" fmla="*/ 1432263 h 6858001"/>
              <a:gd name="connsiteX183" fmla="*/ 11926278 w 12192000"/>
              <a:gd name="connsiteY183" fmla="*/ 1487955 h 6858001"/>
              <a:gd name="connsiteX184" fmla="*/ 11989902 w 12192000"/>
              <a:gd name="connsiteY184" fmla="*/ 1543204 h 6858001"/>
              <a:gd name="connsiteX185" fmla="*/ 12052642 w 12192000"/>
              <a:gd name="connsiteY185" fmla="*/ 1598019 h 6858001"/>
              <a:gd name="connsiteX186" fmla="*/ 12192000 w 12192000"/>
              <a:gd name="connsiteY186" fmla="*/ 1721632 h 6858001"/>
              <a:gd name="connsiteX187" fmla="*/ 12192000 w 12192000"/>
              <a:gd name="connsiteY187" fmla="*/ 2365387 h 6858001"/>
              <a:gd name="connsiteX188" fmla="*/ 12125103 w 12192000"/>
              <a:gd name="connsiteY188" fmla="*/ 2365387 h 6858001"/>
              <a:gd name="connsiteX189" fmla="*/ 11223764 w 12192000"/>
              <a:gd name="connsiteY189" fmla="*/ 1514029 h 6858001"/>
              <a:gd name="connsiteX190" fmla="*/ 11223764 w 12192000"/>
              <a:gd name="connsiteY190" fmla="*/ 2365387 h 6858001"/>
              <a:gd name="connsiteX191" fmla="*/ 10655566 w 12192000"/>
              <a:gd name="connsiteY191" fmla="*/ 2365387 h 6858001"/>
              <a:gd name="connsiteX192" fmla="*/ 2235466 w 12192000"/>
              <a:gd name="connsiteY192" fmla="*/ 0 h 6858001"/>
              <a:gd name="connsiteX193" fmla="*/ 2803664 w 12192000"/>
              <a:gd name="connsiteY193" fmla="*/ 0 h 6858001"/>
              <a:gd name="connsiteX194" fmla="*/ 2803664 w 12192000"/>
              <a:gd name="connsiteY194" fmla="*/ 693489 h 6858001"/>
              <a:gd name="connsiteX195" fmla="*/ 2955655 w 12192000"/>
              <a:gd name="connsiteY195" fmla="*/ 591426 h 6858001"/>
              <a:gd name="connsiteX196" fmla="*/ 3133272 w 12192000"/>
              <a:gd name="connsiteY196" fmla="*/ 514989 h 6858001"/>
              <a:gd name="connsiteX197" fmla="*/ 3332097 w 12192000"/>
              <a:gd name="connsiteY197" fmla="*/ 467271 h 6858001"/>
              <a:gd name="connsiteX198" fmla="*/ 3549479 w 12192000"/>
              <a:gd name="connsiteY198" fmla="*/ 450481 h 6858001"/>
              <a:gd name="connsiteX199" fmla="*/ 3790720 w 12192000"/>
              <a:gd name="connsiteY199" fmla="*/ 465503 h 6858001"/>
              <a:gd name="connsiteX200" fmla="*/ 4012079 w 12192000"/>
              <a:gd name="connsiteY200" fmla="*/ 516314 h 6858001"/>
              <a:gd name="connsiteX201" fmla="*/ 4202509 w 12192000"/>
              <a:gd name="connsiteY201" fmla="*/ 612634 h 6858001"/>
              <a:gd name="connsiteX202" fmla="*/ 4351408 w 12192000"/>
              <a:gd name="connsiteY202" fmla="*/ 764625 h 6858001"/>
              <a:gd name="connsiteX203" fmla="*/ 4448612 w 12192000"/>
              <a:gd name="connsiteY203" fmla="*/ 981565 h 6858001"/>
              <a:gd name="connsiteX204" fmla="*/ 4483515 w 12192000"/>
              <a:gd name="connsiteY204" fmla="*/ 1272291 h 6858001"/>
              <a:gd name="connsiteX205" fmla="*/ 4483515 w 12192000"/>
              <a:gd name="connsiteY205" fmla="*/ 2365387 h 6858001"/>
              <a:gd name="connsiteX206" fmla="*/ 3915317 w 12192000"/>
              <a:gd name="connsiteY206" fmla="*/ 2365387 h 6858001"/>
              <a:gd name="connsiteX207" fmla="*/ 3915317 w 12192000"/>
              <a:gd name="connsiteY207" fmla="*/ 1344752 h 6858001"/>
              <a:gd name="connsiteX208" fmla="*/ 3887923 w 12192000"/>
              <a:gd name="connsiteY208" fmla="*/ 1141951 h 6858001"/>
              <a:gd name="connsiteX209" fmla="*/ 3801766 w 12192000"/>
              <a:gd name="connsiteY209" fmla="*/ 998796 h 6858001"/>
              <a:gd name="connsiteX210" fmla="*/ 3651100 w 12192000"/>
              <a:gd name="connsiteY210" fmla="*/ 913522 h 6858001"/>
              <a:gd name="connsiteX211" fmla="*/ 3430184 w 12192000"/>
              <a:gd name="connsiteY211" fmla="*/ 885245 h 6858001"/>
              <a:gd name="connsiteX212" fmla="*/ 3240196 w 12192000"/>
              <a:gd name="connsiteY212" fmla="*/ 898058 h 6858001"/>
              <a:gd name="connsiteX213" fmla="*/ 3074950 w 12192000"/>
              <a:gd name="connsiteY213" fmla="*/ 932079 h 6858001"/>
              <a:gd name="connsiteX214" fmla="*/ 2930912 w 12192000"/>
              <a:gd name="connsiteY214" fmla="*/ 981565 h 6858001"/>
              <a:gd name="connsiteX215" fmla="*/ 2803664 w 12192000"/>
              <a:gd name="connsiteY215" fmla="*/ 1040771 h 6858001"/>
              <a:gd name="connsiteX216" fmla="*/ 2803664 w 12192000"/>
              <a:gd name="connsiteY216" fmla="*/ 2365387 h 6858001"/>
              <a:gd name="connsiteX217" fmla="*/ 2235466 w 12192000"/>
              <a:gd name="connsiteY217" fmla="*/ 2365387 h 6858001"/>
              <a:gd name="connsiteX218" fmla="*/ 0 w 12192000"/>
              <a:gd name="connsiteY218" fmla="*/ 0 h 6858001"/>
              <a:gd name="connsiteX219" fmla="*/ 1766825 w 12192000"/>
              <a:gd name="connsiteY219" fmla="*/ 0 h 6858001"/>
              <a:gd name="connsiteX220" fmla="*/ 1766825 w 12192000"/>
              <a:gd name="connsiteY220" fmla="*/ 172126 h 6858001"/>
              <a:gd name="connsiteX221" fmla="*/ 800093 w 12192000"/>
              <a:gd name="connsiteY221" fmla="*/ 172126 h 6858001"/>
              <a:gd name="connsiteX222" fmla="*/ 800093 w 12192000"/>
              <a:gd name="connsiteY222" fmla="*/ 2365387 h 6858001"/>
              <a:gd name="connsiteX223" fmla="*/ 216873 w 12192000"/>
              <a:gd name="connsiteY223" fmla="*/ 2365387 h 6858001"/>
              <a:gd name="connsiteX224" fmla="*/ 216873 w 12192000"/>
              <a:gd name="connsiteY224" fmla="*/ 172126 h 6858001"/>
              <a:gd name="connsiteX225" fmla="*/ 0 w 12192000"/>
              <a:gd name="connsiteY225" fmla="*/ 172126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</a:cxnLst>
            <a:rect l="l" t="t" r="r" b="b"/>
            <a:pathLst>
              <a:path w="12192000" h="6858001">
                <a:moveTo>
                  <a:pt x="11850404" y="6343656"/>
                </a:moveTo>
                <a:lnTo>
                  <a:pt x="12192000" y="6343656"/>
                </a:lnTo>
                <a:lnTo>
                  <a:pt x="12192000" y="6858001"/>
                </a:lnTo>
                <a:lnTo>
                  <a:pt x="11850404" y="6858001"/>
                </a:lnTo>
                <a:close/>
                <a:moveTo>
                  <a:pt x="7108908" y="5391063"/>
                </a:moveTo>
                <a:cubicBezTo>
                  <a:pt x="7010527" y="5391063"/>
                  <a:pt x="6920833" y="5404171"/>
                  <a:pt x="6839831" y="5430386"/>
                </a:cubicBezTo>
                <a:cubicBezTo>
                  <a:pt x="6758828" y="5456602"/>
                  <a:pt x="6689460" y="5494305"/>
                  <a:pt x="6631728" y="5543496"/>
                </a:cubicBezTo>
                <a:cubicBezTo>
                  <a:pt x="6573995" y="5592686"/>
                  <a:pt x="6529370" y="5652334"/>
                  <a:pt x="6497853" y="5722438"/>
                </a:cubicBezTo>
                <a:cubicBezTo>
                  <a:pt x="6466334" y="5792543"/>
                  <a:pt x="6450577" y="5871483"/>
                  <a:pt x="6450577" y="5959261"/>
                </a:cubicBezTo>
                <a:cubicBezTo>
                  <a:pt x="6450577" y="6047038"/>
                  <a:pt x="6466334" y="6126274"/>
                  <a:pt x="6497853" y="6196968"/>
                </a:cubicBezTo>
                <a:cubicBezTo>
                  <a:pt x="6529370" y="6267661"/>
                  <a:pt x="6573995" y="6327750"/>
                  <a:pt x="6631728" y="6377236"/>
                </a:cubicBezTo>
                <a:cubicBezTo>
                  <a:pt x="6689460" y="6426721"/>
                  <a:pt x="6758828" y="6464719"/>
                  <a:pt x="6839831" y="6491229"/>
                </a:cubicBezTo>
                <a:cubicBezTo>
                  <a:pt x="6920833" y="6517739"/>
                  <a:pt x="7010527" y="6530994"/>
                  <a:pt x="7108908" y="6530994"/>
                </a:cubicBezTo>
                <a:cubicBezTo>
                  <a:pt x="7207879" y="6530994"/>
                  <a:pt x="7297866" y="6517886"/>
                  <a:pt x="7378868" y="6491671"/>
                </a:cubicBezTo>
                <a:cubicBezTo>
                  <a:pt x="7459871" y="6465455"/>
                  <a:pt x="7529238" y="6427899"/>
                  <a:pt x="7586973" y="6379003"/>
                </a:cubicBezTo>
                <a:cubicBezTo>
                  <a:pt x="7644705" y="6330107"/>
                  <a:pt x="7689330" y="6270459"/>
                  <a:pt x="7720847" y="6200060"/>
                </a:cubicBezTo>
                <a:cubicBezTo>
                  <a:pt x="7752364" y="6129661"/>
                  <a:pt x="7768124" y="6050573"/>
                  <a:pt x="7768124" y="5962796"/>
                </a:cubicBezTo>
                <a:cubicBezTo>
                  <a:pt x="7768124" y="5875018"/>
                  <a:pt x="7752364" y="5795930"/>
                  <a:pt x="7720847" y="5725531"/>
                </a:cubicBezTo>
                <a:cubicBezTo>
                  <a:pt x="7689330" y="5655133"/>
                  <a:pt x="7644705" y="5595190"/>
                  <a:pt x="7586973" y="5545705"/>
                </a:cubicBezTo>
                <a:cubicBezTo>
                  <a:pt x="7529238" y="5496220"/>
                  <a:pt x="7459871" y="5458075"/>
                  <a:pt x="7378868" y="5431270"/>
                </a:cubicBezTo>
                <a:cubicBezTo>
                  <a:pt x="7297866" y="5404465"/>
                  <a:pt x="7207879" y="5391063"/>
                  <a:pt x="7108908" y="5391063"/>
                </a:cubicBezTo>
                <a:close/>
                <a:moveTo>
                  <a:pt x="8852596" y="5033178"/>
                </a:moveTo>
                <a:lnTo>
                  <a:pt x="9420793" y="5033178"/>
                </a:lnTo>
                <a:lnTo>
                  <a:pt x="9420793" y="6053814"/>
                </a:lnTo>
                <a:cubicBezTo>
                  <a:pt x="9420793" y="6131576"/>
                  <a:pt x="9429925" y="6199324"/>
                  <a:pt x="9448187" y="6257057"/>
                </a:cubicBezTo>
                <a:cubicBezTo>
                  <a:pt x="9466450" y="6314789"/>
                  <a:pt x="9495169" y="6362655"/>
                  <a:pt x="9534345" y="6400653"/>
                </a:cubicBezTo>
                <a:cubicBezTo>
                  <a:pt x="9573520" y="6438651"/>
                  <a:pt x="9623743" y="6466928"/>
                  <a:pt x="9685010" y="6485485"/>
                </a:cubicBezTo>
                <a:cubicBezTo>
                  <a:pt x="9746277" y="6504042"/>
                  <a:pt x="9819917" y="6513320"/>
                  <a:pt x="9905927" y="6513320"/>
                </a:cubicBezTo>
                <a:cubicBezTo>
                  <a:pt x="9963659" y="6513320"/>
                  <a:pt x="10018446" y="6509933"/>
                  <a:pt x="10070289" y="6503158"/>
                </a:cubicBezTo>
                <a:cubicBezTo>
                  <a:pt x="10122131" y="6496383"/>
                  <a:pt x="10171763" y="6486516"/>
                  <a:pt x="10219187" y="6473555"/>
                </a:cubicBezTo>
                <a:cubicBezTo>
                  <a:pt x="10266610" y="6460595"/>
                  <a:pt x="10312413" y="6444394"/>
                  <a:pt x="10356597" y="6424954"/>
                </a:cubicBezTo>
                <a:cubicBezTo>
                  <a:pt x="10400780" y="6405513"/>
                  <a:pt x="10444669" y="6383127"/>
                  <a:pt x="10488263" y="6357795"/>
                </a:cubicBezTo>
                <a:lnTo>
                  <a:pt x="10488263" y="5033178"/>
                </a:lnTo>
                <a:lnTo>
                  <a:pt x="11056461" y="5033178"/>
                </a:lnTo>
                <a:lnTo>
                  <a:pt x="11056461" y="6858001"/>
                </a:lnTo>
                <a:lnTo>
                  <a:pt x="10553737" y="6858001"/>
                </a:lnTo>
                <a:lnTo>
                  <a:pt x="10520959" y="6687403"/>
                </a:lnTo>
                <a:cubicBezTo>
                  <a:pt x="10479132" y="6725695"/>
                  <a:pt x="10430531" y="6760305"/>
                  <a:pt x="10375154" y="6791234"/>
                </a:cubicBezTo>
                <a:lnTo>
                  <a:pt x="10225477" y="6858001"/>
                </a:lnTo>
                <a:lnTo>
                  <a:pt x="9262452" y="6858001"/>
                </a:lnTo>
                <a:lnTo>
                  <a:pt x="9219759" y="6839504"/>
                </a:lnTo>
                <a:cubicBezTo>
                  <a:pt x="9188536" y="6823377"/>
                  <a:pt x="9158639" y="6805225"/>
                  <a:pt x="9130067" y="6785048"/>
                </a:cubicBezTo>
                <a:cubicBezTo>
                  <a:pt x="9072924" y="6744693"/>
                  <a:pt x="9023880" y="6694177"/>
                  <a:pt x="8982936" y="6633499"/>
                </a:cubicBezTo>
                <a:cubicBezTo>
                  <a:pt x="8941994" y="6572820"/>
                  <a:pt x="8910034" y="6500654"/>
                  <a:pt x="8887059" y="6417001"/>
                </a:cubicBezTo>
                <a:cubicBezTo>
                  <a:pt x="8864083" y="6333346"/>
                  <a:pt x="8852596" y="6236438"/>
                  <a:pt x="8852596" y="6126274"/>
                </a:cubicBezTo>
                <a:close/>
                <a:moveTo>
                  <a:pt x="3225611" y="5033178"/>
                </a:moveTo>
                <a:lnTo>
                  <a:pt x="3840643" y="5033178"/>
                </a:lnTo>
                <a:lnTo>
                  <a:pt x="4346624" y="6097113"/>
                </a:lnTo>
                <a:cubicBezTo>
                  <a:pt x="4368415" y="6142474"/>
                  <a:pt x="4389610" y="6187100"/>
                  <a:pt x="4410215" y="6230989"/>
                </a:cubicBezTo>
                <a:cubicBezTo>
                  <a:pt x="4430820" y="6274877"/>
                  <a:pt x="4452012" y="6319503"/>
                  <a:pt x="4473789" y="6364864"/>
                </a:cubicBezTo>
                <a:cubicBezTo>
                  <a:pt x="4494427" y="6321270"/>
                  <a:pt x="4515209" y="6277234"/>
                  <a:pt x="4536137" y="6232756"/>
                </a:cubicBezTo>
                <a:cubicBezTo>
                  <a:pt x="4557066" y="6188278"/>
                  <a:pt x="4578137" y="6143653"/>
                  <a:pt x="4599354" y="6098881"/>
                </a:cubicBezTo>
                <a:lnTo>
                  <a:pt x="5104288" y="5033178"/>
                </a:lnTo>
                <a:lnTo>
                  <a:pt x="5693693" y="5033178"/>
                </a:lnTo>
                <a:lnTo>
                  <a:pt x="4772955" y="6858001"/>
                </a:lnTo>
                <a:lnTo>
                  <a:pt x="4148574" y="6858001"/>
                </a:lnTo>
                <a:close/>
                <a:moveTo>
                  <a:pt x="7109351" y="4974856"/>
                </a:moveTo>
                <a:cubicBezTo>
                  <a:pt x="7243712" y="4974856"/>
                  <a:pt x="7367764" y="4984724"/>
                  <a:pt x="7481504" y="5004459"/>
                </a:cubicBezTo>
                <a:cubicBezTo>
                  <a:pt x="7595244" y="5024194"/>
                  <a:pt x="7698228" y="5053355"/>
                  <a:pt x="7790457" y="5091942"/>
                </a:cubicBezTo>
                <a:cubicBezTo>
                  <a:pt x="7882684" y="5130529"/>
                  <a:pt x="7963717" y="5177952"/>
                  <a:pt x="8033555" y="5234212"/>
                </a:cubicBezTo>
                <a:cubicBezTo>
                  <a:pt x="8103391" y="5290472"/>
                  <a:pt x="8161882" y="5355275"/>
                  <a:pt x="8209024" y="5428619"/>
                </a:cubicBezTo>
                <a:cubicBezTo>
                  <a:pt x="8256167" y="5501963"/>
                  <a:pt x="8291672" y="5583261"/>
                  <a:pt x="8315541" y="5672511"/>
                </a:cubicBezTo>
                <a:cubicBezTo>
                  <a:pt x="8339408" y="5761762"/>
                  <a:pt x="8351342" y="5858523"/>
                  <a:pt x="8351342" y="5962796"/>
                </a:cubicBezTo>
                <a:cubicBezTo>
                  <a:pt x="8351342" y="6062355"/>
                  <a:pt x="8339262" y="6155877"/>
                  <a:pt x="8315099" y="6243360"/>
                </a:cubicBezTo>
                <a:cubicBezTo>
                  <a:pt x="8290936" y="6330843"/>
                  <a:pt x="8255133" y="6410962"/>
                  <a:pt x="8207692" y="6483718"/>
                </a:cubicBezTo>
                <a:cubicBezTo>
                  <a:pt x="8160249" y="6556472"/>
                  <a:pt x="8101466" y="6621717"/>
                  <a:pt x="8031339" y="6679450"/>
                </a:cubicBezTo>
                <a:cubicBezTo>
                  <a:pt x="7961212" y="6737182"/>
                  <a:pt x="7880180" y="6785932"/>
                  <a:pt x="7788249" y="6825697"/>
                </a:cubicBezTo>
                <a:lnTo>
                  <a:pt x="7698566" y="6858001"/>
                </a:lnTo>
                <a:lnTo>
                  <a:pt x="6508023" y="6858001"/>
                </a:lnTo>
                <a:lnTo>
                  <a:pt x="6430452" y="6830999"/>
                </a:lnTo>
                <a:cubicBezTo>
                  <a:pt x="6338520" y="6792411"/>
                  <a:pt x="6257490" y="6744988"/>
                  <a:pt x="6187362" y="6688728"/>
                </a:cubicBezTo>
                <a:cubicBezTo>
                  <a:pt x="6117233" y="6632468"/>
                  <a:pt x="6058449" y="6567666"/>
                  <a:pt x="6011008" y="6494322"/>
                </a:cubicBezTo>
                <a:cubicBezTo>
                  <a:pt x="5963564" y="6420977"/>
                  <a:pt x="5927763" y="6339532"/>
                  <a:pt x="5903602" y="6249988"/>
                </a:cubicBezTo>
                <a:cubicBezTo>
                  <a:pt x="5879438" y="6160442"/>
                  <a:pt x="5867355" y="6063534"/>
                  <a:pt x="5867355" y="5959261"/>
                </a:cubicBezTo>
                <a:cubicBezTo>
                  <a:pt x="5867355" y="5859702"/>
                  <a:pt x="5879438" y="5766327"/>
                  <a:pt x="5903602" y="5679139"/>
                </a:cubicBezTo>
                <a:cubicBezTo>
                  <a:pt x="5927763" y="5591950"/>
                  <a:pt x="5963564" y="5511831"/>
                  <a:pt x="6011008" y="5438781"/>
                </a:cubicBezTo>
                <a:cubicBezTo>
                  <a:pt x="6058449" y="5365732"/>
                  <a:pt x="6117233" y="5300487"/>
                  <a:pt x="6187362" y="5243049"/>
                </a:cubicBezTo>
                <a:cubicBezTo>
                  <a:pt x="6257490" y="5185611"/>
                  <a:pt x="6338520" y="5137009"/>
                  <a:pt x="6430452" y="5097244"/>
                </a:cubicBezTo>
                <a:cubicBezTo>
                  <a:pt x="6522386" y="5057479"/>
                  <a:pt x="6625075" y="5027140"/>
                  <a:pt x="6738520" y="5006226"/>
                </a:cubicBezTo>
                <a:cubicBezTo>
                  <a:pt x="6851966" y="4985313"/>
                  <a:pt x="6975576" y="4974856"/>
                  <a:pt x="7109351" y="4974856"/>
                </a:cubicBezTo>
                <a:close/>
                <a:moveTo>
                  <a:pt x="11857474" y="4268806"/>
                </a:moveTo>
                <a:lnTo>
                  <a:pt x="12192000" y="4268806"/>
                </a:lnTo>
                <a:lnTo>
                  <a:pt x="12192000" y="6064418"/>
                </a:lnTo>
                <a:lnTo>
                  <a:pt x="11976769" y="6064418"/>
                </a:lnTo>
                <a:lnTo>
                  <a:pt x="11921981" y="5724206"/>
                </a:lnTo>
                <a:cubicBezTo>
                  <a:pt x="11917268" y="5695339"/>
                  <a:pt x="11912408" y="5661024"/>
                  <a:pt x="11907401" y="5621259"/>
                </a:cubicBezTo>
                <a:cubicBezTo>
                  <a:pt x="11902393" y="5581494"/>
                  <a:pt x="11897533" y="5538636"/>
                  <a:pt x="11892820" y="5492685"/>
                </a:cubicBezTo>
                <a:cubicBezTo>
                  <a:pt x="11888107" y="5446734"/>
                  <a:pt x="11883542" y="5398722"/>
                  <a:pt x="11879124" y="5348647"/>
                </a:cubicBezTo>
                <a:cubicBezTo>
                  <a:pt x="11874705" y="5298573"/>
                  <a:pt x="11870875" y="5248351"/>
                  <a:pt x="11867636" y="5197982"/>
                </a:cubicBezTo>
                <a:cubicBezTo>
                  <a:pt x="11864395" y="5147613"/>
                  <a:pt x="11861892" y="5098275"/>
                  <a:pt x="11860125" y="5049968"/>
                </a:cubicBezTo>
                <a:cubicBezTo>
                  <a:pt x="11858357" y="5001661"/>
                  <a:pt x="11857474" y="4956299"/>
                  <a:pt x="11857474" y="4913883"/>
                </a:cubicBezTo>
                <a:close/>
                <a:moveTo>
                  <a:pt x="6237222" y="1579807"/>
                </a:moveTo>
                <a:cubicBezTo>
                  <a:pt x="6114098" y="1579807"/>
                  <a:pt x="6008648" y="1584079"/>
                  <a:pt x="5920869" y="1592621"/>
                </a:cubicBezTo>
                <a:cubicBezTo>
                  <a:pt x="5833091" y="1601163"/>
                  <a:pt x="5761221" y="1615154"/>
                  <a:pt x="5705254" y="1634595"/>
                </a:cubicBezTo>
                <a:cubicBezTo>
                  <a:pt x="5649288" y="1654035"/>
                  <a:pt x="5608199" y="1679220"/>
                  <a:pt x="5581983" y="1710148"/>
                </a:cubicBezTo>
                <a:cubicBezTo>
                  <a:pt x="5555769" y="1741077"/>
                  <a:pt x="5542661" y="1778632"/>
                  <a:pt x="5542661" y="1822816"/>
                </a:cubicBezTo>
                <a:cubicBezTo>
                  <a:pt x="5542661" y="1852860"/>
                  <a:pt x="5549435" y="1881433"/>
                  <a:pt x="5562984" y="1908532"/>
                </a:cubicBezTo>
                <a:cubicBezTo>
                  <a:pt x="5576535" y="1935631"/>
                  <a:pt x="5597889" y="1959490"/>
                  <a:pt x="5627051" y="1980109"/>
                </a:cubicBezTo>
                <a:cubicBezTo>
                  <a:pt x="5656210" y="2000728"/>
                  <a:pt x="5693767" y="2017075"/>
                  <a:pt x="5739718" y="2029152"/>
                </a:cubicBezTo>
                <a:cubicBezTo>
                  <a:pt x="5785669" y="2041229"/>
                  <a:pt x="5840749" y="2047267"/>
                  <a:pt x="5904964" y="2047267"/>
                </a:cubicBezTo>
                <a:cubicBezTo>
                  <a:pt x="5974478" y="2047267"/>
                  <a:pt x="6038839" y="2043144"/>
                  <a:pt x="6098043" y="2034896"/>
                </a:cubicBezTo>
                <a:cubicBezTo>
                  <a:pt x="6157249" y="2026648"/>
                  <a:pt x="6212331" y="2015161"/>
                  <a:pt x="6263289" y="2000433"/>
                </a:cubicBezTo>
                <a:cubicBezTo>
                  <a:pt x="6314247" y="1985705"/>
                  <a:pt x="6361376" y="1968179"/>
                  <a:pt x="6404677" y="1947855"/>
                </a:cubicBezTo>
                <a:cubicBezTo>
                  <a:pt x="6447976" y="1927530"/>
                  <a:pt x="6488772" y="1904997"/>
                  <a:pt x="6527065" y="1880254"/>
                </a:cubicBezTo>
                <a:lnTo>
                  <a:pt x="6527065" y="1579807"/>
                </a:lnTo>
                <a:close/>
                <a:moveTo>
                  <a:pt x="9064454" y="450481"/>
                </a:moveTo>
                <a:cubicBezTo>
                  <a:pt x="9146929" y="450481"/>
                  <a:pt x="9227342" y="455489"/>
                  <a:pt x="9305695" y="465503"/>
                </a:cubicBezTo>
                <a:cubicBezTo>
                  <a:pt x="9384046" y="475518"/>
                  <a:pt x="9457832" y="492455"/>
                  <a:pt x="9527053" y="516314"/>
                </a:cubicBezTo>
                <a:cubicBezTo>
                  <a:pt x="9596273" y="540173"/>
                  <a:pt x="9659750" y="572280"/>
                  <a:pt x="9717482" y="612634"/>
                </a:cubicBezTo>
                <a:cubicBezTo>
                  <a:pt x="9775216" y="652988"/>
                  <a:pt x="9824848" y="703652"/>
                  <a:pt x="9866380" y="764625"/>
                </a:cubicBezTo>
                <a:cubicBezTo>
                  <a:pt x="9907913" y="825598"/>
                  <a:pt x="9940314" y="897911"/>
                  <a:pt x="9963584" y="981565"/>
                </a:cubicBezTo>
                <a:cubicBezTo>
                  <a:pt x="9986854" y="1065219"/>
                  <a:pt x="9998488" y="1162128"/>
                  <a:pt x="9998488" y="1272291"/>
                </a:cubicBezTo>
                <a:lnTo>
                  <a:pt x="9998488" y="2365387"/>
                </a:lnTo>
                <a:lnTo>
                  <a:pt x="9430292" y="2365387"/>
                </a:lnTo>
                <a:lnTo>
                  <a:pt x="9430292" y="1344752"/>
                </a:lnTo>
                <a:cubicBezTo>
                  <a:pt x="9430292" y="1266989"/>
                  <a:pt x="9421160" y="1199389"/>
                  <a:pt x="9402898" y="1141951"/>
                </a:cubicBezTo>
                <a:cubicBezTo>
                  <a:pt x="9384635" y="1084512"/>
                  <a:pt x="9355916" y="1036794"/>
                  <a:pt x="9316740" y="998796"/>
                </a:cubicBezTo>
                <a:cubicBezTo>
                  <a:pt x="9277564" y="960799"/>
                  <a:pt x="9227342" y="932374"/>
                  <a:pt x="9166075" y="913522"/>
                </a:cubicBezTo>
                <a:cubicBezTo>
                  <a:pt x="9104807" y="894671"/>
                  <a:pt x="9031168" y="885245"/>
                  <a:pt x="8945158" y="885245"/>
                </a:cubicBezTo>
                <a:cubicBezTo>
                  <a:pt x="8877409" y="885245"/>
                  <a:pt x="8814079" y="889516"/>
                  <a:pt x="8755169" y="898058"/>
                </a:cubicBezTo>
                <a:cubicBezTo>
                  <a:pt x="8696257" y="906601"/>
                  <a:pt x="8641176" y="917941"/>
                  <a:pt x="8589923" y="932079"/>
                </a:cubicBezTo>
                <a:cubicBezTo>
                  <a:pt x="8538671" y="946218"/>
                  <a:pt x="8490657" y="962713"/>
                  <a:pt x="8445885" y="981565"/>
                </a:cubicBezTo>
                <a:cubicBezTo>
                  <a:pt x="8401113" y="1000417"/>
                  <a:pt x="8358697" y="1020152"/>
                  <a:pt x="8318637" y="1040771"/>
                </a:cubicBezTo>
                <a:lnTo>
                  <a:pt x="8318637" y="2365387"/>
                </a:lnTo>
                <a:lnTo>
                  <a:pt x="7750441" y="2365387"/>
                </a:lnTo>
                <a:lnTo>
                  <a:pt x="7750441" y="508803"/>
                </a:lnTo>
                <a:lnTo>
                  <a:pt x="8247060" y="508803"/>
                </a:lnTo>
                <a:lnTo>
                  <a:pt x="8286825" y="721767"/>
                </a:lnTo>
                <a:cubicBezTo>
                  <a:pt x="8333954" y="679351"/>
                  <a:pt x="8386090" y="641353"/>
                  <a:pt x="8443234" y="607774"/>
                </a:cubicBezTo>
                <a:cubicBezTo>
                  <a:pt x="8500378" y="574195"/>
                  <a:pt x="8561646" y="545770"/>
                  <a:pt x="8627037" y="522500"/>
                </a:cubicBezTo>
                <a:cubicBezTo>
                  <a:pt x="8692429" y="499230"/>
                  <a:pt x="8761796" y="481409"/>
                  <a:pt x="8835141" y="469038"/>
                </a:cubicBezTo>
                <a:cubicBezTo>
                  <a:pt x="8908486" y="456667"/>
                  <a:pt x="8984924" y="450481"/>
                  <a:pt x="9064454" y="450481"/>
                </a:cubicBezTo>
                <a:close/>
                <a:moveTo>
                  <a:pt x="6005701" y="450481"/>
                </a:moveTo>
                <a:cubicBezTo>
                  <a:pt x="6176544" y="450481"/>
                  <a:pt x="6328680" y="464620"/>
                  <a:pt x="6462115" y="492897"/>
                </a:cubicBezTo>
                <a:cubicBezTo>
                  <a:pt x="6595548" y="521174"/>
                  <a:pt x="6708068" y="565947"/>
                  <a:pt x="6799675" y="627214"/>
                </a:cubicBezTo>
                <a:cubicBezTo>
                  <a:pt x="6891282" y="688482"/>
                  <a:pt x="6961091" y="767423"/>
                  <a:pt x="7009105" y="864037"/>
                </a:cubicBezTo>
                <a:cubicBezTo>
                  <a:pt x="7057116" y="960652"/>
                  <a:pt x="7081124" y="1077296"/>
                  <a:pt x="7081124" y="1213969"/>
                </a:cubicBezTo>
                <a:lnTo>
                  <a:pt x="7081124" y="2365387"/>
                </a:lnTo>
                <a:lnTo>
                  <a:pt x="6592456" y="2365387"/>
                </a:lnTo>
                <a:lnTo>
                  <a:pt x="6556225" y="2177166"/>
                </a:lnTo>
                <a:cubicBezTo>
                  <a:pt x="6510274" y="2216048"/>
                  <a:pt x="6459021" y="2250805"/>
                  <a:pt x="6402467" y="2281439"/>
                </a:cubicBezTo>
                <a:cubicBezTo>
                  <a:pt x="6345913" y="2312073"/>
                  <a:pt x="6284792" y="2337847"/>
                  <a:pt x="6219107" y="2358760"/>
                </a:cubicBezTo>
                <a:cubicBezTo>
                  <a:pt x="6153420" y="2379673"/>
                  <a:pt x="6083022" y="2395726"/>
                  <a:pt x="6007909" y="2406920"/>
                </a:cubicBezTo>
                <a:cubicBezTo>
                  <a:pt x="5932799" y="2418113"/>
                  <a:pt x="5853710" y="2423709"/>
                  <a:pt x="5770647" y="2423709"/>
                </a:cubicBezTo>
                <a:cubicBezTo>
                  <a:pt x="5645165" y="2423709"/>
                  <a:pt x="5532498" y="2411044"/>
                  <a:pt x="5432645" y="2385712"/>
                </a:cubicBezTo>
                <a:cubicBezTo>
                  <a:pt x="5332788" y="2360380"/>
                  <a:pt x="5248104" y="2323119"/>
                  <a:pt x="5178590" y="2273928"/>
                </a:cubicBezTo>
                <a:cubicBezTo>
                  <a:pt x="5109076" y="2224737"/>
                  <a:pt x="5055906" y="2164059"/>
                  <a:pt x="5019088" y="2091892"/>
                </a:cubicBezTo>
                <a:cubicBezTo>
                  <a:pt x="4982268" y="2019726"/>
                  <a:pt x="4963857" y="1937104"/>
                  <a:pt x="4963859" y="1844024"/>
                </a:cubicBezTo>
                <a:cubicBezTo>
                  <a:pt x="4963857" y="1766850"/>
                  <a:pt x="4977262" y="1698514"/>
                  <a:pt x="5004067" y="1639013"/>
                </a:cubicBezTo>
                <a:cubicBezTo>
                  <a:pt x="5030869" y="1579513"/>
                  <a:pt x="5069163" y="1527671"/>
                  <a:pt x="5118943" y="1483488"/>
                </a:cubicBezTo>
                <a:cubicBezTo>
                  <a:pt x="5168721" y="1439304"/>
                  <a:pt x="5228959" y="1402043"/>
                  <a:pt x="5299651" y="1371704"/>
                </a:cubicBezTo>
                <a:cubicBezTo>
                  <a:pt x="5370344" y="1341365"/>
                  <a:pt x="5449580" y="1316916"/>
                  <a:pt x="5537358" y="1298359"/>
                </a:cubicBezTo>
                <a:cubicBezTo>
                  <a:pt x="5625136" y="1279802"/>
                  <a:pt x="5720572" y="1266547"/>
                  <a:pt x="5823667" y="1258594"/>
                </a:cubicBezTo>
                <a:cubicBezTo>
                  <a:pt x="5926761" y="1250641"/>
                  <a:pt x="6035746" y="1246665"/>
                  <a:pt x="6150624" y="1246665"/>
                </a:cubicBezTo>
                <a:cubicBezTo>
                  <a:pt x="6197751" y="1246665"/>
                  <a:pt x="6243848" y="1247254"/>
                  <a:pt x="6288915" y="1248432"/>
                </a:cubicBezTo>
                <a:cubicBezTo>
                  <a:pt x="6333983" y="1249611"/>
                  <a:pt x="6375662" y="1251083"/>
                  <a:pt x="6413954" y="1252851"/>
                </a:cubicBezTo>
                <a:cubicBezTo>
                  <a:pt x="6452247" y="1254618"/>
                  <a:pt x="6489951" y="1256385"/>
                  <a:pt x="6527065" y="1258153"/>
                </a:cubicBezTo>
                <a:lnTo>
                  <a:pt x="6527065" y="1254618"/>
                </a:lnTo>
                <a:cubicBezTo>
                  <a:pt x="6527065" y="1189227"/>
                  <a:pt x="6514693" y="1133114"/>
                  <a:pt x="6489951" y="1086280"/>
                </a:cubicBezTo>
                <a:cubicBezTo>
                  <a:pt x="6465207" y="1039445"/>
                  <a:pt x="6428535" y="1000858"/>
                  <a:pt x="6379933" y="970519"/>
                </a:cubicBezTo>
                <a:cubicBezTo>
                  <a:pt x="6331332" y="940180"/>
                  <a:pt x="6270949" y="917794"/>
                  <a:pt x="6198782" y="903360"/>
                </a:cubicBezTo>
                <a:cubicBezTo>
                  <a:pt x="6126616" y="888927"/>
                  <a:pt x="6043109" y="881710"/>
                  <a:pt x="5948264" y="881710"/>
                </a:cubicBezTo>
                <a:cubicBezTo>
                  <a:pt x="5869322" y="881710"/>
                  <a:pt x="5793917" y="885540"/>
                  <a:pt x="5722044" y="893198"/>
                </a:cubicBezTo>
                <a:cubicBezTo>
                  <a:pt x="5650174" y="900857"/>
                  <a:pt x="5581395" y="911461"/>
                  <a:pt x="5515708" y="925010"/>
                </a:cubicBezTo>
                <a:cubicBezTo>
                  <a:pt x="5450023" y="938560"/>
                  <a:pt x="5387577" y="954613"/>
                  <a:pt x="5328371" y="973170"/>
                </a:cubicBezTo>
                <a:cubicBezTo>
                  <a:pt x="5269165" y="991727"/>
                  <a:pt x="5212757" y="1011904"/>
                  <a:pt x="5159149" y="1033701"/>
                </a:cubicBezTo>
                <a:lnTo>
                  <a:pt x="5159149" y="628098"/>
                </a:lnTo>
                <a:cubicBezTo>
                  <a:pt x="5211579" y="601588"/>
                  <a:pt x="5269313" y="577435"/>
                  <a:pt x="5332347" y="555637"/>
                </a:cubicBezTo>
                <a:cubicBezTo>
                  <a:pt x="5395381" y="533840"/>
                  <a:pt x="5462835" y="515136"/>
                  <a:pt x="5534707" y="499524"/>
                </a:cubicBezTo>
                <a:cubicBezTo>
                  <a:pt x="5606578" y="483913"/>
                  <a:pt x="5681985" y="471837"/>
                  <a:pt x="5760925" y="463294"/>
                </a:cubicBezTo>
                <a:cubicBezTo>
                  <a:pt x="5839867" y="454752"/>
                  <a:pt x="5921458" y="450481"/>
                  <a:pt x="6005701" y="450481"/>
                </a:cubicBezTo>
                <a:close/>
                <a:moveTo>
                  <a:pt x="10655566" y="0"/>
                </a:moveTo>
                <a:lnTo>
                  <a:pt x="11223764" y="0"/>
                </a:lnTo>
                <a:lnTo>
                  <a:pt x="11223764" y="1264835"/>
                </a:lnTo>
                <a:lnTo>
                  <a:pt x="12147194" y="508803"/>
                </a:lnTo>
                <a:lnTo>
                  <a:pt x="12192000" y="508803"/>
                </a:lnTo>
                <a:lnTo>
                  <a:pt x="12192000" y="1066049"/>
                </a:lnTo>
                <a:lnTo>
                  <a:pt x="12057060" y="1173859"/>
                </a:lnTo>
                <a:cubicBezTo>
                  <a:pt x="12035264" y="1190943"/>
                  <a:pt x="12013614" y="1208023"/>
                  <a:pt x="11992111" y="1225098"/>
                </a:cubicBezTo>
                <a:cubicBezTo>
                  <a:pt x="11970609" y="1242173"/>
                  <a:pt x="11949253" y="1259101"/>
                  <a:pt x="11928045" y="1275881"/>
                </a:cubicBezTo>
                <a:cubicBezTo>
                  <a:pt x="11906837" y="1292662"/>
                  <a:pt x="11885629" y="1309442"/>
                  <a:pt x="11864421" y="1326223"/>
                </a:cubicBezTo>
                <a:cubicBezTo>
                  <a:pt x="11843213" y="1343003"/>
                  <a:pt x="11821711" y="1359931"/>
                  <a:pt x="11799913" y="1377006"/>
                </a:cubicBezTo>
                <a:cubicBezTo>
                  <a:pt x="11820533" y="1395278"/>
                  <a:pt x="11841446" y="1413697"/>
                  <a:pt x="11862654" y="1432263"/>
                </a:cubicBezTo>
                <a:cubicBezTo>
                  <a:pt x="11883862" y="1450829"/>
                  <a:pt x="11905070" y="1469393"/>
                  <a:pt x="11926278" y="1487955"/>
                </a:cubicBezTo>
                <a:cubicBezTo>
                  <a:pt x="11947486" y="1506516"/>
                  <a:pt x="11968694" y="1524933"/>
                  <a:pt x="11989902" y="1543204"/>
                </a:cubicBezTo>
                <a:cubicBezTo>
                  <a:pt x="12011110" y="1561476"/>
                  <a:pt x="12032024" y="1579748"/>
                  <a:pt x="12052642" y="1598019"/>
                </a:cubicBezTo>
                <a:lnTo>
                  <a:pt x="12192000" y="1721632"/>
                </a:lnTo>
                <a:lnTo>
                  <a:pt x="12192000" y="2365387"/>
                </a:lnTo>
                <a:lnTo>
                  <a:pt x="12125103" y="2365387"/>
                </a:lnTo>
                <a:lnTo>
                  <a:pt x="11223764" y="1514029"/>
                </a:lnTo>
                <a:lnTo>
                  <a:pt x="11223764" y="2365387"/>
                </a:lnTo>
                <a:lnTo>
                  <a:pt x="10655566" y="2365387"/>
                </a:lnTo>
                <a:close/>
                <a:moveTo>
                  <a:pt x="2235466" y="0"/>
                </a:moveTo>
                <a:lnTo>
                  <a:pt x="2803664" y="0"/>
                </a:lnTo>
                <a:lnTo>
                  <a:pt x="2803664" y="693489"/>
                </a:lnTo>
                <a:cubicBezTo>
                  <a:pt x="2849615" y="655787"/>
                  <a:pt x="2900278" y="621765"/>
                  <a:pt x="2955655" y="591426"/>
                </a:cubicBezTo>
                <a:cubicBezTo>
                  <a:pt x="3011031" y="561087"/>
                  <a:pt x="3070237" y="535608"/>
                  <a:pt x="3133272" y="514989"/>
                </a:cubicBezTo>
                <a:cubicBezTo>
                  <a:pt x="3196307" y="494370"/>
                  <a:pt x="3262582" y="478464"/>
                  <a:pt x="3332097" y="467271"/>
                </a:cubicBezTo>
                <a:cubicBezTo>
                  <a:pt x="3401612" y="456078"/>
                  <a:pt x="3474073" y="450481"/>
                  <a:pt x="3549479" y="450481"/>
                </a:cubicBezTo>
                <a:cubicBezTo>
                  <a:pt x="3631953" y="450481"/>
                  <a:pt x="3712368" y="455489"/>
                  <a:pt x="3790720" y="465503"/>
                </a:cubicBezTo>
                <a:cubicBezTo>
                  <a:pt x="3869072" y="475518"/>
                  <a:pt x="3942858" y="492455"/>
                  <a:pt x="4012079" y="516314"/>
                </a:cubicBezTo>
                <a:cubicBezTo>
                  <a:pt x="4081299" y="540173"/>
                  <a:pt x="4144776" y="572280"/>
                  <a:pt x="4202509" y="612634"/>
                </a:cubicBezTo>
                <a:cubicBezTo>
                  <a:pt x="4260244" y="652988"/>
                  <a:pt x="4309876" y="703652"/>
                  <a:pt x="4351408" y="764625"/>
                </a:cubicBezTo>
                <a:cubicBezTo>
                  <a:pt x="4392939" y="825598"/>
                  <a:pt x="4425341" y="897911"/>
                  <a:pt x="4448612" y="981565"/>
                </a:cubicBezTo>
                <a:cubicBezTo>
                  <a:pt x="4471881" y="1065219"/>
                  <a:pt x="4483515" y="1162128"/>
                  <a:pt x="4483515" y="1272291"/>
                </a:cubicBezTo>
                <a:lnTo>
                  <a:pt x="4483515" y="2365387"/>
                </a:lnTo>
                <a:lnTo>
                  <a:pt x="3915317" y="2365387"/>
                </a:lnTo>
                <a:lnTo>
                  <a:pt x="3915317" y="1344752"/>
                </a:lnTo>
                <a:cubicBezTo>
                  <a:pt x="3915317" y="1266989"/>
                  <a:pt x="3906185" y="1199389"/>
                  <a:pt x="3887923" y="1141951"/>
                </a:cubicBezTo>
                <a:cubicBezTo>
                  <a:pt x="3869660" y="1084512"/>
                  <a:pt x="3840942" y="1036794"/>
                  <a:pt x="3801766" y="998796"/>
                </a:cubicBezTo>
                <a:cubicBezTo>
                  <a:pt x="3762590" y="960799"/>
                  <a:pt x="3712368" y="932374"/>
                  <a:pt x="3651100" y="913522"/>
                </a:cubicBezTo>
                <a:cubicBezTo>
                  <a:pt x="3589833" y="894671"/>
                  <a:pt x="3516194" y="885245"/>
                  <a:pt x="3430184" y="885245"/>
                </a:cubicBezTo>
                <a:cubicBezTo>
                  <a:pt x="3362436" y="885245"/>
                  <a:pt x="3299107" y="889516"/>
                  <a:pt x="3240196" y="898058"/>
                </a:cubicBezTo>
                <a:cubicBezTo>
                  <a:pt x="3181284" y="906601"/>
                  <a:pt x="3126203" y="917941"/>
                  <a:pt x="3074950" y="932079"/>
                </a:cubicBezTo>
                <a:cubicBezTo>
                  <a:pt x="3023697" y="946218"/>
                  <a:pt x="2975685" y="962713"/>
                  <a:pt x="2930912" y="981565"/>
                </a:cubicBezTo>
                <a:cubicBezTo>
                  <a:pt x="2886140" y="1000417"/>
                  <a:pt x="2843724" y="1020152"/>
                  <a:pt x="2803664" y="1040771"/>
                </a:cubicBezTo>
                <a:lnTo>
                  <a:pt x="2803664" y="2365387"/>
                </a:lnTo>
                <a:lnTo>
                  <a:pt x="2235466" y="2365387"/>
                </a:lnTo>
                <a:close/>
                <a:moveTo>
                  <a:pt x="0" y="0"/>
                </a:moveTo>
                <a:lnTo>
                  <a:pt x="1766825" y="0"/>
                </a:lnTo>
                <a:lnTo>
                  <a:pt x="1766825" y="172126"/>
                </a:lnTo>
                <a:lnTo>
                  <a:pt x="800093" y="172126"/>
                </a:lnTo>
                <a:lnTo>
                  <a:pt x="800093" y="2365387"/>
                </a:lnTo>
                <a:lnTo>
                  <a:pt x="216873" y="2365387"/>
                </a:lnTo>
                <a:lnTo>
                  <a:pt x="216873" y="172126"/>
                </a:lnTo>
                <a:lnTo>
                  <a:pt x="0" y="172126"/>
                </a:lnTo>
                <a:close/>
              </a:path>
            </a:pathLst>
          </a:custGeom>
          <a:solidFill>
            <a:schemeClr val="tx1">
              <a:alpha val="3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r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</a:pPr>
            <a:endParaRPr lang="en-GB" sz="28500" b="1" i="0" noProof="0">
              <a:solidFill>
                <a:schemeClr val="tx1">
                  <a:alpha val="3000"/>
                </a:schemeClr>
              </a:solidFill>
              <a:latin typeface="Audi Type Extended" panose="020B0505040200000003" pitchFamily="34" charset="0"/>
              <a:cs typeface="Audi Type Extended" panose="020B0505040200000003" pitchFamily="34" charset="0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 2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752395" y="1526479"/>
            <a:ext cx="1265730" cy="806993"/>
          </a:xfrm>
          <a:ln w="9525">
            <a:noFill/>
          </a:ln>
        </p:spPr>
        <p:txBody>
          <a:bodyPr anchor="ctr"/>
          <a:lstStyle>
            <a:lvl1pPr>
              <a:defRPr sz="5000" b="0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 Extended" panose="020B0505040200000003" pitchFamily="34" charset="0"/>
              </a:defRPr>
            </a:lvl1pPr>
          </a:lstStyle>
          <a:p>
            <a:pPr lvl="0"/>
            <a:r>
              <a:rPr lang="en-GB" noProof="0" dirty="0"/>
              <a:t>01</a:t>
            </a:r>
            <a:endParaRPr lang="en-GB" noProof="0" dirty="0"/>
          </a:p>
        </p:txBody>
      </p:sp>
      <p:sp>
        <p:nvSpPr>
          <p:cNvPr id="48" name="Textplatzhalt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3018125" y="1685641"/>
            <a:ext cx="6069011" cy="248022"/>
          </a:xfrm>
        </p:spPr>
        <p:txBody>
          <a:bodyPr lIns="72000" anchor="b"/>
          <a:lstStyle>
            <a:lvl1pPr>
              <a:defRPr sz="1800" b="1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 Extended" panose="020B0505040200000003" pitchFamily="34" charset="0"/>
              </a:defRPr>
            </a:lvl1pPr>
          </a:lstStyle>
          <a:p>
            <a:r>
              <a:rPr lang="zh-CN" altLang="en-US" dirty="0"/>
              <a:t>章节一标题</a:t>
            </a:r>
            <a:endParaRPr lang="en-GB" altLang="zh-CN" dirty="0"/>
          </a:p>
        </p:txBody>
      </p:sp>
      <p:sp>
        <p:nvSpPr>
          <p:cNvPr id="49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3018125" y="1971827"/>
            <a:ext cx="6069012" cy="361645"/>
          </a:xfrm>
        </p:spPr>
        <p:txBody>
          <a:bodyPr lIns="72000"/>
          <a:lstStyle>
            <a:lvl1pPr>
              <a:defRPr sz="1200" b="0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" panose="020B0503040200000003" charset="0"/>
              </a:defRPr>
            </a:lvl1pPr>
          </a:lstStyle>
          <a:p>
            <a:r>
              <a:rPr lang="zh-CN" altLang="en-US" dirty="0"/>
              <a:t>副标题 和</a:t>
            </a:r>
            <a:r>
              <a:rPr lang="en-US" altLang="zh-CN" dirty="0"/>
              <a:t>/</a:t>
            </a:r>
            <a:r>
              <a:rPr lang="zh-CN" altLang="en-US" dirty="0"/>
              <a:t>或 本文描述</a:t>
            </a:r>
            <a:endParaRPr lang="en-GB" altLang="zh-CN" dirty="0"/>
          </a:p>
        </p:txBody>
      </p:sp>
      <p:sp>
        <p:nvSpPr>
          <p:cNvPr id="34" name="Textplatzhalt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1752395" y="2571597"/>
            <a:ext cx="1265730" cy="806993"/>
          </a:xfrm>
        </p:spPr>
        <p:txBody>
          <a:bodyPr anchor="ctr"/>
          <a:lstStyle>
            <a:lvl1pPr>
              <a:defRPr sz="5000" b="0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 Extended" panose="020B0505040200000003" pitchFamily="34" charset="0"/>
              </a:defRPr>
            </a:lvl1pPr>
          </a:lstStyle>
          <a:p>
            <a:pPr lvl="0"/>
            <a:r>
              <a:rPr lang="en-GB" noProof="0"/>
              <a:t>02</a:t>
            </a:r>
            <a:endParaRPr lang="en-GB" noProof="0"/>
          </a:p>
        </p:txBody>
      </p:sp>
      <p:sp>
        <p:nvSpPr>
          <p:cNvPr id="50" name="Textplatzhalter 21"/>
          <p:cNvSpPr>
            <a:spLocks noGrp="1"/>
          </p:cNvSpPr>
          <p:nvPr>
            <p:ph type="body" sz="quarter" idx="24" hasCustomPrompt="1"/>
          </p:nvPr>
        </p:nvSpPr>
        <p:spPr>
          <a:xfrm>
            <a:off x="3018125" y="2730759"/>
            <a:ext cx="6069011" cy="248022"/>
          </a:xfrm>
        </p:spPr>
        <p:txBody>
          <a:bodyPr lIns="72000" anchor="b"/>
          <a:lstStyle>
            <a:lvl1pPr>
              <a:defRPr sz="1800" b="1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 Extended" panose="020B0505040200000003" pitchFamily="34" charset="0"/>
              </a:defRPr>
            </a:lvl1pPr>
          </a:lstStyle>
          <a:p>
            <a:r>
              <a:rPr lang="zh-CN" altLang="en-US" dirty="0"/>
              <a:t>章节二标题</a:t>
            </a:r>
            <a:endParaRPr lang="en-GB" altLang="zh-CN" dirty="0"/>
          </a:p>
        </p:txBody>
      </p:sp>
      <p:sp>
        <p:nvSpPr>
          <p:cNvPr id="51" name="Textplatzhalter 24"/>
          <p:cNvSpPr>
            <a:spLocks noGrp="1"/>
          </p:cNvSpPr>
          <p:nvPr>
            <p:ph type="body" sz="quarter" idx="25" hasCustomPrompt="1"/>
          </p:nvPr>
        </p:nvSpPr>
        <p:spPr>
          <a:xfrm>
            <a:off x="3018125" y="3016945"/>
            <a:ext cx="6069012" cy="361645"/>
          </a:xfrm>
        </p:spPr>
        <p:txBody>
          <a:bodyPr lIns="72000"/>
          <a:lstStyle>
            <a:lvl1pPr>
              <a:defRPr sz="1200" b="0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" panose="020B0503040200000003" charset="0"/>
              </a:defRPr>
            </a:lvl1pPr>
          </a:lstStyle>
          <a:p>
            <a:r>
              <a:rPr lang="zh-CN" altLang="en-US" dirty="0"/>
              <a:t>副标题 和</a:t>
            </a:r>
            <a:r>
              <a:rPr lang="en-US" altLang="zh-CN" dirty="0"/>
              <a:t>/</a:t>
            </a:r>
            <a:r>
              <a:rPr lang="zh-CN" altLang="en-US" dirty="0"/>
              <a:t>或 本文描述</a:t>
            </a:r>
            <a:endParaRPr lang="en-GB" altLang="zh-CN" dirty="0"/>
          </a:p>
        </p:txBody>
      </p:sp>
      <p:sp>
        <p:nvSpPr>
          <p:cNvPr id="37" name="Textplatzhalt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1752395" y="3616715"/>
            <a:ext cx="1265730" cy="806993"/>
          </a:xfrm>
        </p:spPr>
        <p:txBody>
          <a:bodyPr anchor="ctr"/>
          <a:lstStyle>
            <a:lvl1pPr>
              <a:defRPr sz="5000" b="0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 Extended" panose="020B0505040200000003" pitchFamily="34" charset="0"/>
              </a:defRPr>
            </a:lvl1pPr>
          </a:lstStyle>
          <a:p>
            <a:pPr lvl="0"/>
            <a:r>
              <a:rPr lang="en-GB" noProof="0"/>
              <a:t>03</a:t>
            </a:r>
            <a:endParaRPr lang="en-GB" noProof="0"/>
          </a:p>
        </p:txBody>
      </p:sp>
      <p:sp>
        <p:nvSpPr>
          <p:cNvPr id="52" name="Textplatzhalter 21"/>
          <p:cNvSpPr>
            <a:spLocks noGrp="1"/>
          </p:cNvSpPr>
          <p:nvPr>
            <p:ph type="body" sz="quarter" idx="26" hasCustomPrompt="1"/>
          </p:nvPr>
        </p:nvSpPr>
        <p:spPr>
          <a:xfrm>
            <a:off x="3018125" y="3775877"/>
            <a:ext cx="6069011" cy="248022"/>
          </a:xfrm>
        </p:spPr>
        <p:txBody>
          <a:bodyPr lIns="72000" anchor="b"/>
          <a:lstStyle>
            <a:lvl1pPr>
              <a:defRPr sz="1800" b="1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 Extended" panose="020B0505040200000003" pitchFamily="34" charset="0"/>
              </a:defRPr>
            </a:lvl1pPr>
          </a:lstStyle>
          <a:p>
            <a:r>
              <a:rPr lang="zh-CN" altLang="en-US" dirty="0"/>
              <a:t>章节三标题</a:t>
            </a:r>
            <a:endParaRPr lang="en-GB" altLang="zh-CN" dirty="0"/>
          </a:p>
        </p:txBody>
      </p:sp>
      <p:sp>
        <p:nvSpPr>
          <p:cNvPr id="53" name="Textplatzhalter 24"/>
          <p:cNvSpPr>
            <a:spLocks noGrp="1"/>
          </p:cNvSpPr>
          <p:nvPr>
            <p:ph type="body" sz="quarter" idx="27" hasCustomPrompt="1"/>
          </p:nvPr>
        </p:nvSpPr>
        <p:spPr>
          <a:xfrm>
            <a:off x="3018125" y="4062063"/>
            <a:ext cx="6069012" cy="361645"/>
          </a:xfrm>
        </p:spPr>
        <p:txBody>
          <a:bodyPr lIns="72000"/>
          <a:lstStyle>
            <a:lvl1pPr>
              <a:defRPr sz="1200" b="0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" panose="020B0503040200000003" charset="0"/>
              </a:defRPr>
            </a:lvl1pPr>
          </a:lstStyle>
          <a:p>
            <a:r>
              <a:rPr lang="zh-CN" altLang="en-US" dirty="0"/>
              <a:t>副标题 和</a:t>
            </a:r>
            <a:r>
              <a:rPr lang="en-US" altLang="zh-CN" dirty="0"/>
              <a:t>/</a:t>
            </a:r>
            <a:r>
              <a:rPr lang="zh-CN" altLang="en-US" dirty="0"/>
              <a:t>或 本文描述</a:t>
            </a:r>
            <a:endParaRPr lang="en-GB" altLang="zh-CN" dirty="0"/>
          </a:p>
        </p:txBody>
      </p:sp>
      <p:sp>
        <p:nvSpPr>
          <p:cNvPr id="40" name="Textplatzhalter 19"/>
          <p:cNvSpPr>
            <a:spLocks noGrp="1"/>
          </p:cNvSpPr>
          <p:nvPr>
            <p:ph type="body" sz="quarter" idx="20" hasCustomPrompt="1"/>
          </p:nvPr>
        </p:nvSpPr>
        <p:spPr>
          <a:xfrm>
            <a:off x="1752395" y="4669208"/>
            <a:ext cx="1265730" cy="806993"/>
          </a:xfrm>
        </p:spPr>
        <p:txBody>
          <a:bodyPr anchor="ctr"/>
          <a:lstStyle>
            <a:lvl1pPr>
              <a:defRPr sz="5000" b="0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 Extended" panose="020B0505040200000003" pitchFamily="34" charset="0"/>
              </a:defRPr>
            </a:lvl1pPr>
          </a:lstStyle>
          <a:p>
            <a:pPr lvl="0"/>
            <a:r>
              <a:rPr lang="en-GB" noProof="0"/>
              <a:t>04</a:t>
            </a:r>
            <a:endParaRPr lang="en-GB" noProof="0"/>
          </a:p>
        </p:txBody>
      </p:sp>
      <p:sp>
        <p:nvSpPr>
          <p:cNvPr id="54" name="Textplatzhalter 21"/>
          <p:cNvSpPr>
            <a:spLocks noGrp="1"/>
          </p:cNvSpPr>
          <p:nvPr>
            <p:ph type="body" sz="quarter" idx="28" hasCustomPrompt="1"/>
          </p:nvPr>
        </p:nvSpPr>
        <p:spPr>
          <a:xfrm>
            <a:off x="3018125" y="4828370"/>
            <a:ext cx="6069011" cy="248022"/>
          </a:xfrm>
        </p:spPr>
        <p:txBody>
          <a:bodyPr lIns="72000" anchor="b"/>
          <a:lstStyle>
            <a:lvl1pPr>
              <a:defRPr sz="1800" b="1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 Extended" panose="020B0505040200000003" pitchFamily="34" charset="0"/>
              </a:defRPr>
            </a:lvl1pPr>
          </a:lstStyle>
          <a:p>
            <a:r>
              <a:rPr lang="zh-CN" altLang="en-US" dirty="0"/>
              <a:t>章节四标题</a:t>
            </a:r>
            <a:endParaRPr lang="en-GB" altLang="zh-CN" dirty="0"/>
          </a:p>
        </p:txBody>
      </p:sp>
      <p:sp>
        <p:nvSpPr>
          <p:cNvPr id="55" name="Textplatzhalter 24"/>
          <p:cNvSpPr>
            <a:spLocks noGrp="1"/>
          </p:cNvSpPr>
          <p:nvPr>
            <p:ph type="body" sz="quarter" idx="29" hasCustomPrompt="1"/>
          </p:nvPr>
        </p:nvSpPr>
        <p:spPr>
          <a:xfrm>
            <a:off x="3018125" y="5114556"/>
            <a:ext cx="6069012" cy="361645"/>
          </a:xfrm>
        </p:spPr>
        <p:txBody>
          <a:bodyPr lIns="72000"/>
          <a:lstStyle>
            <a:lvl1pPr>
              <a:defRPr sz="1200" b="0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" panose="020B0503040200000003" charset="0"/>
              </a:defRPr>
            </a:lvl1pPr>
          </a:lstStyle>
          <a:p>
            <a:r>
              <a:rPr lang="zh-CN" altLang="en-US" dirty="0"/>
              <a:t>副标题 和</a:t>
            </a:r>
            <a:r>
              <a:rPr lang="en-US" altLang="zh-CN" dirty="0"/>
              <a:t>/</a:t>
            </a:r>
            <a:r>
              <a:rPr lang="zh-CN" altLang="en-US" dirty="0"/>
              <a:t>或 本文描述</a:t>
            </a:r>
            <a:endParaRPr lang="en-GB" altLang="zh-CN" dirty="0"/>
          </a:p>
        </p:txBody>
      </p:sp>
      <p:sp>
        <p:nvSpPr>
          <p:cNvPr id="43" name="Textplatzhalter 19"/>
          <p:cNvSpPr>
            <a:spLocks noGrp="1"/>
          </p:cNvSpPr>
          <p:nvPr>
            <p:ph type="body" sz="quarter" idx="23" hasCustomPrompt="1"/>
          </p:nvPr>
        </p:nvSpPr>
        <p:spPr>
          <a:xfrm>
            <a:off x="1752395" y="5736457"/>
            <a:ext cx="1265730" cy="806993"/>
          </a:xfrm>
        </p:spPr>
        <p:txBody>
          <a:bodyPr anchor="ctr"/>
          <a:lstStyle>
            <a:lvl1pPr>
              <a:defRPr sz="5000" b="0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 Extended" panose="020B0505040200000003" pitchFamily="34" charset="0"/>
              </a:defRPr>
            </a:lvl1pPr>
          </a:lstStyle>
          <a:p>
            <a:pPr lvl="0"/>
            <a:r>
              <a:rPr lang="en-GB" noProof="0"/>
              <a:t>05</a:t>
            </a:r>
            <a:endParaRPr lang="en-GB" noProof="0"/>
          </a:p>
        </p:txBody>
      </p:sp>
      <p:sp>
        <p:nvSpPr>
          <p:cNvPr id="56" name="Textplatzhalter 21"/>
          <p:cNvSpPr>
            <a:spLocks noGrp="1"/>
          </p:cNvSpPr>
          <p:nvPr>
            <p:ph type="body" sz="quarter" idx="30" hasCustomPrompt="1"/>
          </p:nvPr>
        </p:nvSpPr>
        <p:spPr>
          <a:xfrm>
            <a:off x="3018125" y="5895619"/>
            <a:ext cx="6069011" cy="248022"/>
          </a:xfrm>
        </p:spPr>
        <p:txBody>
          <a:bodyPr lIns="72000" anchor="b"/>
          <a:lstStyle>
            <a:lvl1pPr>
              <a:defRPr sz="1800" b="1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 Extended" panose="020B0505040200000003" pitchFamily="34" charset="0"/>
              </a:defRPr>
            </a:lvl1pPr>
          </a:lstStyle>
          <a:p>
            <a:r>
              <a:rPr lang="zh-CN" altLang="en-US" dirty="0"/>
              <a:t>章节五标题</a:t>
            </a:r>
            <a:endParaRPr lang="en-GB" altLang="zh-CN" dirty="0"/>
          </a:p>
        </p:txBody>
      </p:sp>
      <p:sp>
        <p:nvSpPr>
          <p:cNvPr id="57" name="Textplatzhalter 24"/>
          <p:cNvSpPr>
            <a:spLocks noGrp="1"/>
          </p:cNvSpPr>
          <p:nvPr>
            <p:ph type="body" sz="quarter" idx="31" hasCustomPrompt="1"/>
          </p:nvPr>
        </p:nvSpPr>
        <p:spPr>
          <a:xfrm>
            <a:off x="3018125" y="6181805"/>
            <a:ext cx="6069012" cy="361645"/>
          </a:xfrm>
        </p:spPr>
        <p:txBody>
          <a:bodyPr lIns="72000"/>
          <a:lstStyle>
            <a:lvl1pPr>
              <a:defRPr sz="1200" b="0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" panose="020B0503040200000003" charset="0"/>
              </a:defRPr>
            </a:lvl1pPr>
          </a:lstStyle>
          <a:p>
            <a:r>
              <a:rPr lang="zh-CN" altLang="en-US" dirty="0"/>
              <a:t>副标题 和</a:t>
            </a:r>
            <a:r>
              <a:rPr lang="en-US" altLang="zh-CN" dirty="0"/>
              <a:t>/</a:t>
            </a:r>
            <a:r>
              <a:rPr lang="zh-CN" altLang="en-US" dirty="0"/>
              <a:t>或 本文描述</a:t>
            </a:r>
            <a:endParaRPr lang="en-GB" altLang="zh-CN" dirty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695324" y="300396"/>
            <a:ext cx="11341101" cy="537804"/>
          </a:xfrm>
        </p:spPr>
        <p:txBody>
          <a:bodyPr/>
          <a:lstStyle>
            <a:lvl1pPr>
              <a:defRPr baseline="0">
                <a:latin typeface="Audi Type Extended" panose="020B0505040200000003" pitchFamily="34" charset="0"/>
                <a:ea typeface="华康金刚黑" panose="020B0400000000000000" pitchFamily="34" charset="-122"/>
              </a:defRPr>
            </a:lvl1pPr>
          </a:lstStyle>
          <a:p>
            <a:r>
              <a:rPr lang="zh-CN" altLang="en-US" dirty="0"/>
              <a:t>内容目录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首页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47328" y="6237312"/>
            <a:ext cx="3456384" cy="50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/>
          </a:p>
        </p:txBody>
      </p:sp>
      <p:sp>
        <p:nvSpPr>
          <p:cNvPr id="7" name="矩形 6"/>
          <p:cNvSpPr/>
          <p:nvPr userDrawn="1"/>
        </p:nvSpPr>
        <p:spPr>
          <a:xfrm>
            <a:off x="8400256" y="6267788"/>
            <a:ext cx="3456384" cy="50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/>
          </a:p>
        </p:txBody>
      </p:sp>
      <p:sp>
        <p:nvSpPr>
          <p:cNvPr id="9" name="Bildplatzhalter 12"/>
          <p:cNvSpPr>
            <a:spLocks noGrp="1" noChangeAspect="1"/>
          </p:cNvSpPr>
          <p:nvPr>
            <p:ph type="pic" sz="quarter" idx="15"/>
          </p:nvPr>
        </p:nvSpPr>
        <p:spPr bwMode="gray">
          <a:xfrm>
            <a:off x="0" y="0"/>
            <a:ext cx="12192000" cy="3429000"/>
          </a:xfrm>
          <a:prstGeom prst="rect">
            <a:avLst/>
          </a:prstGeom>
          <a:noFill/>
        </p:spPr>
        <p:txBody>
          <a:bodyPr bIns="900000" anchor="ctr" anchorCtr="0"/>
          <a:lstStyle>
            <a:lvl1pPr algn="ctr">
              <a:lnSpc>
                <a:spcPct val="100000"/>
              </a:lnSpc>
              <a:spcBef>
                <a:spcPts val="0"/>
              </a:spcBef>
              <a:defRPr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en-GB" noProof="0" dirty="0"/>
          </a:p>
        </p:txBody>
      </p:sp>
      <p:sp>
        <p:nvSpPr>
          <p:cNvPr id="12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719405" y="4725144"/>
            <a:ext cx="11089217" cy="972371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2665" b="1" baseline="0">
                <a:solidFill>
                  <a:schemeClr val="bg2"/>
                </a:solidFill>
                <a:latin typeface="Audi Type Extended" panose="020B0505040200000003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 noProof="0" dirty="0" smtClean="0"/>
              <a:t>标题，微软雅黑，</a:t>
            </a:r>
            <a:r>
              <a:rPr lang="en-US" altLang="zh-CN" noProof="0" dirty="0" smtClean="0"/>
              <a:t>20</a:t>
            </a:r>
            <a:r>
              <a:rPr lang="zh-CN" altLang="en-US" noProof="0" dirty="0" smtClean="0"/>
              <a:t>号</a:t>
            </a:r>
            <a:br>
              <a:rPr lang="en-US" altLang="zh-CN" noProof="0" dirty="0" smtClean="0"/>
            </a:br>
            <a:r>
              <a:rPr lang="en-US" altLang="zh-CN" noProof="0" dirty="0" smtClean="0"/>
              <a:t>Title, Audi Type Extended, Size 20</a:t>
            </a:r>
            <a:endParaRPr lang="en-GB" noProof="0" dirty="0"/>
          </a:p>
        </p:txBody>
      </p:sp>
      <p:sp>
        <p:nvSpPr>
          <p:cNvPr id="1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405" y="5697515"/>
            <a:ext cx="11089217" cy="395783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865" b="0" baseline="0">
                <a:solidFill>
                  <a:schemeClr val="bg2"/>
                </a:solidFill>
                <a:latin typeface="Audi Type" panose="020B0503040200000003" charset="0"/>
                <a:ea typeface="微软雅黑" panose="020B0503020204020204" pitchFamily="34" charset="-122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noProof="0" dirty="0" smtClean="0"/>
              <a:t>部门与日期 </a:t>
            </a:r>
            <a:r>
              <a:rPr lang="en-US" altLang="zh-CN" noProof="0" dirty="0" err="1" smtClean="0"/>
              <a:t>Dept</a:t>
            </a:r>
            <a:r>
              <a:rPr lang="en-US" altLang="zh-CN" noProof="0" dirty="0" smtClean="0"/>
              <a:t> &amp; Date</a:t>
            </a:r>
            <a:r>
              <a:rPr lang="zh-CN" altLang="en-US" noProof="0" dirty="0" smtClean="0"/>
              <a:t>：副标题 </a:t>
            </a:r>
            <a:r>
              <a:rPr lang="en-US" altLang="zh-CN" noProof="0" dirty="0" smtClean="0"/>
              <a:t>Subtitle</a:t>
            </a:r>
            <a:r>
              <a:rPr lang="zh-CN" altLang="en-US" noProof="0" dirty="0" smtClean="0"/>
              <a:t>，姓名 </a:t>
            </a:r>
            <a:r>
              <a:rPr lang="en-US" altLang="zh-CN" noProof="0" dirty="0" smtClean="0"/>
              <a:t>Name</a:t>
            </a:r>
            <a:r>
              <a:rPr lang="zh-CN" altLang="en-US" noProof="0" dirty="0" smtClean="0"/>
              <a:t>，微软雅黑 </a:t>
            </a:r>
            <a:r>
              <a:rPr lang="en-US" altLang="zh-CN" noProof="0" dirty="0" smtClean="0"/>
              <a:t>Audi Type</a:t>
            </a:r>
            <a:r>
              <a:rPr lang="zh-CN" altLang="en-US" noProof="0" dirty="0" smtClean="0"/>
              <a:t>，</a:t>
            </a:r>
            <a:r>
              <a:rPr lang="en-US" altLang="zh-CN" noProof="0" dirty="0" smtClean="0"/>
              <a:t>14</a:t>
            </a:r>
            <a:r>
              <a:rPr lang="zh-CN" altLang="en-US" noProof="0" dirty="0" smtClean="0"/>
              <a:t>号 </a:t>
            </a:r>
            <a:r>
              <a:rPr lang="en-US" altLang="zh-CN" noProof="0" dirty="0" smtClean="0"/>
              <a:t>Size</a:t>
            </a:r>
            <a:endParaRPr lang="en-GB" noProof="0" dirty="0" smtClean="0"/>
          </a:p>
        </p:txBody>
      </p:sp>
      <p:pic>
        <p:nvPicPr>
          <p:cNvPr id="41986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56280" y="3621022"/>
            <a:ext cx="2747433" cy="950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>
            <p:custDataLst>
              <p:tags r:id="rId2"/>
            </p:custDataLst>
          </p:nvPr>
        </p:nvSpPr>
        <p:spPr>
          <a:xfrm>
            <a:off x="335360" y="260649"/>
            <a:ext cx="2592288" cy="672075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100000"/>
              </a:lnSpc>
            </a:pPr>
            <a:r>
              <a:rPr lang="zh-CN" altLang="en-US" sz="1865" baseline="0" dirty="0" smtClean="0">
                <a:solidFill>
                  <a:schemeClr val="tx1"/>
                </a:solidFill>
                <a:latin typeface="Audi Type" panose="020B0503040200000003"/>
                <a:ea typeface="微软雅黑" panose="020B0503020204020204" pitchFamily="34" charset="-122"/>
              </a:rPr>
              <a:t>目录</a:t>
            </a:r>
            <a:endParaRPr lang="en-US" altLang="zh-CN" sz="1865" baseline="0" dirty="0" smtClean="0">
              <a:solidFill>
                <a:schemeClr val="tx1"/>
              </a:solidFill>
              <a:latin typeface="Audi Type" panose="020B0503040200000003"/>
              <a:ea typeface="微软雅黑" panose="020B0503020204020204" pitchFamily="34" charset="-122"/>
            </a:endParaRPr>
          </a:p>
          <a:p>
            <a:pPr algn="ctr">
              <a:lnSpc>
                <a:spcPct val="100000"/>
              </a:lnSpc>
            </a:pPr>
            <a:r>
              <a:rPr lang="en-US" altLang="zh-CN" sz="1865" dirty="0" smtClean="0">
                <a:solidFill>
                  <a:schemeClr val="tx1"/>
                </a:solidFill>
                <a:latin typeface="Audi Type" panose="020B0503040200000003"/>
                <a:ea typeface="微软雅黑" panose="020B0503020204020204" pitchFamily="34" charset="-122"/>
              </a:rPr>
              <a:t>Contents</a:t>
            </a:r>
            <a:endParaRPr lang="zh-CN" altLang="en-US" sz="1865" dirty="0">
              <a:solidFill>
                <a:schemeClr val="tx1"/>
              </a:solidFill>
              <a:latin typeface="Audi Type" panose="020B0503040200000003"/>
              <a:ea typeface="微软雅黑" panose="020B0503020204020204" pitchFamily="34" charset="-122"/>
            </a:endParaRPr>
          </a:p>
        </p:txBody>
      </p:sp>
      <p:sp>
        <p:nvSpPr>
          <p:cNvPr id="9" name="矩形 8"/>
          <p:cNvSpPr/>
          <p:nvPr userDrawn="1">
            <p:custDataLst>
              <p:tags r:id="rId3"/>
            </p:custDataLst>
          </p:nvPr>
        </p:nvSpPr>
        <p:spPr>
          <a:xfrm>
            <a:off x="335360" y="0"/>
            <a:ext cx="2592288" cy="206896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150000"/>
              </a:lnSpc>
            </a:pPr>
            <a:endParaRPr lang="zh-CN" altLang="en-US" sz="1865" dirty="0">
              <a:solidFill>
                <a:schemeClr val="bg1"/>
              </a:solidFill>
              <a:latin typeface="Audi Type" panose="020B0503040200000003" charset="0"/>
              <a:ea typeface="微软雅黑" panose="020B0503020204020204" pitchFamily="34" charset="-122"/>
            </a:endParaRPr>
          </a:p>
        </p:txBody>
      </p:sp>
      <p:sp>
        <p:nvSpPr>
          <p:cNvPr id="10" name="矩形 9"/>
          <p:cNvSpPr/>
          <p:nvPr userDrawn="1">
            <p:custDataLst>
              <p:tags r:id="rId4"/>
            </p:custDataLst>
          </p:nvPr>
        </p:nvSpPr>
        <p:spPr>
          <a:xfrm>
            <a:off x="1103445" y="1941781"/>
            <a:ext cx="10081120" cy="67207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150000"/>
              </a:lnSpc>
            </a:pPr>
            <a:endParaRPr lang="zh-CN" altLang="en-US" sz="1865" dirty="0">
              <a:latin typeface="Audi Type" panose="020B0503040200000003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 userDrawn="1">
            <p:custDataLst>
              <p:tags r:id="rId5"/>
            </p:custDataLst>
          </p:nvPr>
        </p:nvSpPr>
        <p:spPr>
          <a:xfrm>
            <a:off x="1103445" y="3012953"/>
            <a:ext cx="10081120" cy="67207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150000"/>
              </a:lnSpc>
            </a:pPr>
            <a:endParaRPr lang="zh-CN" altLang="en-US" sz="1865" dirty="0">
              <a:latin typeface="Audi Type" panose="020B0503040200000003"/>
              <a:ea typeface="微软雅黑" panose="020B0503020204020204" pitchFamily="34" charset="-122"/>
            </a:endParaRPr>
          </a:p>
        </p:txBody>
      </p:sp>
      <p:sp>
        <p:nvSpPr>
          <p:cNvPr id="12" name="矩形 11"/>
          <p:cNvSpPr/>
          <p:nvPr userDrawn="1">
            <p:custDataLst>
              <p:tags r:id="rId6"/>
            </p:custDataLst>
          </p:nvPr>
        </p:nvSpPr>
        <p:spPr>
          <a:xfrm>
            <a:off x="1103445" y="4037067"/>
            <a:ext cx="10081120" cy="67207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150000"/>
              </a:lnSpc>
            </a:pPr>
            <a:endParaRPr lang="zh-CN" altLang="en-US" sz="1865" dirty="0">
              <a:latin typeface="Audi Type" panose="020B0503040200000003"/>
              <a:ea typeface="微软雅黑" panose="020B0503020204020204" pitchFamily="34" charset="-122"/>
            </a:endParaRPr>
          </a:p>
        </p:txBody>
      </p:sp>
      <p:sp>
        <p:nvSpPr>
          <p:cNvPr id="13" name="矩形 12"/>
          <p:cNvSpPr/>
          <p:nvPr userDrawn="1">
            <p:custDataLst>
              <p:tags r:id="rId7"/>
            </p:custDataLst>
          </p:nvPr>
        </p:nvSpPr>
        <p:spPr>
          <a:xfrm>
            <a:off x="1103445" y="5061181"/>
            <a:ext cx="10081120" cy="67207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150000"/>
              </a:lnSpc>
            </a:pPr>
            <a:endParaRPr lang="zh-CN" altLang="en-US" sz="1865" dirty="0">
              <a:latin typeface="Audi Type" panose="020B0503040200000003"/>
              <a:ea typeface="微软雅黑" panose="020B0503020204020204" pitchFamily="34" charset="-122"/>
            </a:endParaRPr>
          </a:p>
        </p:txBody>
      </p:sp>
      <p:sp>
        <p:nvSpPr>
          <p:cNvPr id="14" name="矩形 13"/>
          <p:cNvSpPr/>
          <p:nvPr userDrawn="1">
            <p:custDataLst>
              <p:tags r:id="rId8"/>
            </p:custDataLst>
          </p:nvPr>
        </p:nvSpPr>
        <p:spPr>
          <a:xfrm>
            <a:off x="1295467" y="1749760"/>
            <a:ext cx="960107" cy="528059"/>
          </a:xfrm>
          <a:prstGeom prst="rect">
            <a:avLst/>
          </a:pr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865" b="1" dirty="0" smtClean="0">
                <a:solidFill>
                  <a:schemeClr val="bg1"/>
                </a:solidFill>
                <a:latin typeface="Audi Type" panose="020B0503040200000003" charset="0"/>
                <a:ea typeface="微软雅黑" panose="020B0503020204020204" pitchFamily="34" charset="-122"/>
              </a:rPr>
              <a:t>1</a:t>
            </a:r>
            <a:endParaRPr lang="zh-CN" altLang="en-US" sz="1865" b="1" dirty="0">
              <a:solidFill>
                <a:schemeClr val="bg1"/>
              </a:solidFill>
              <a:latin typeface="Audi Type" panose="020B0503040200000003" charset="0"/>
              <a:ea typeface="微软雅黑" panose="020B0503020204020204" pitchFamily="34" charset="-122"/>
            </a:endParaRPr>
          </a:p>
        </p:txBody>
      </p:sp>
      <p:sp>
        <p:nvSpPr>
          <p:cNvPr id="15" name="矩形 14"/>
          <p:cNvSpPr/>
          <p:nvPr userDrawn="1">
            <p:custDataLst>
              <p:tags r:id="rId9"/>
            </p:custDataLst>
          </p:nvPr>
        </p:nvSpPr>
        <p:spPr>
          <a:xfrm>
            <a:off x="1295467" y="2852936"/>
            <a:ext cx="960107" cy="528059"/>
          </a:xfrm>
          <a:prstGeom prst="rect">
            <a:avLst/>
          </a:pr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865" b="1" dirty="0" smtClean="0">
                <a:solidFill>
                  <a:schemeClr val="bg1"/>
                </a:solidFill>
                <a:latin typeface="Audi Type" panose="020B0503040200000003" charset="0"/>
                <a:ea typeface="微软雅黑" panose="020B0503020204020204" pitchFamily="34" charset="-122"/>
              </a:rPr>
              <a:t>2</a:t>
            </a:r>
            <a:endParaRPr lang="zh-CN" altLang="en-US" sz="1865" b="1" dirty="0">
              <a:solidFill>
                <a:schemeClr val="bg1"/>
              </a:solidFill>
              <a:latin typeface="Audi Type" panose="020B0503040200000003" charset="0"/>
              <a:ea typeface="微软雅黑" panose="020B0503020204020204" pitchFamily="34" charset="-122"/>
            </a:endParaRPr>
          </a:p>
        </p:txBody>
      </p:sp>
      <p:sp>
        <p:nvSpPr>
          <p:cNvPr id="16" name="矩形 15"/>
          <p:cNvSpPr/>
          <p:nvPr userDrawn="1">
            <p:custDataLst>
              <p:tags r:id="rId10"/>
            </p:custDataLst>
          </p:nvPr>
        </p:nvSpPr>
        <p:spPr>
          <a:xfrm>
            <a:off x="1295467" y="3861048"/>
            <a:ext cx="960107" cy="528059"/>
          </a:xfrm>
          <a:prstGeom prst="rect">
            <a:avLst/>
          </a:pr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865" b="1" dirty="0" smtClean="0">
                <a:solidFill>
                  <a:schemeClr val="bg1"/>
                </a:solidFill>
                <a:latin typeface="Audi Type" panose="020B0503040200000003" charset="0"/>
                <a:ea typeface="微软雅黑" panose="020B0503020204020204" pitchFamily="34" charset="-122"/>
              </a:rPr>
              <a:t>3</a:t>
            </a:r>
            <a:endParaRPr lang="zh-CN" altLang="en-US" sz="1865" b="1" dirty="0">
              <a:solidFill>
                <a:schemeClr val="bg1"/>
              </a:solidFill>
              <a:latin typeface="Audi Type" panose="020B0503040200000003" charset="0"/>
              <a:ea typeface="微软雅黑" panose="020B0503020204020204" pitchFamily="34" charset="-122"/>
            </a:endParaRPr>
          </a:p>
        </p:txBody>
      </p:sp>
      <p:sp>
        <p:nvSpPr>
          <p:cNvPr id="17" name="矩形 16"/>
          <p:cNvSpPr/>
          <p:nvPr userDrawn="1">
            <p:custDataLst>
              <p:tags r:id="rId11"/>
            </p:custDataLst>
          </p:nvPr>
        </p:nvSpPr>
        <p:spPr>
          <a:xfrm>
            <a:off x="1295467" y="4917165"/>
            <a:ext cx="960107" cy="528059"/>
          </a:xfrm>
          <a:prstGeom prst="rect">
            <a:avLst/>
          </a:pr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865" b="1" dirty="0" smtClean="0">
                <a:solidFill>
                  <a:schemeClr val="bg1"/>
                </a:solidFill>
                <a:latin typeface="Audi Type" panose="020B0503040200000003" charset="0"/>
                <a:ea typeface="微软雅黑" panose="020B0503020204020204" pitchFamily="34" charset="-122"/>
              </a:rPr>
              <a:t>4</a:t>
            </a:r>
            <a:endParaRPr lang="zh-CN" altLang="en-US" sz="1865" b="1" dirty="0">
              <a:solidFill>
                <a:schemeClr val="bg1"/>
              </a:solidFill>
              <a:latin typeface="Audi Type" panose="020B0503040200000003" charset="0"/>
              <a:ea typeface="微软雅黑" panose="020B0503020204020204" pitchFamily="34" charset="-122"/>
            </a:endParaRP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433593" y="3140968"/>
            <a:ext cx="8161569" cy="396000"/>
          </a:xfrm>
          <a:prstGeom prst="rect">
            <a:avLst/>
          </a:prstGeom>
          <a:noFill/>
        </p:spPr>
        <p:txBody>
          <a:bodyPr lIns="0" tIns="108000" bIns="108000" anchor="ctr">
            <a:noAutofit/>
          </a:bodyPr>
          <a:lstStyle>
            <a:lvl1pPr marL="0" marR="0" indent="0" algn="l" defTabSz="1219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865" b="0" baseline="0">
                <a:solidFill>
                  <a:schemeClr val="bg2"/>
                </a:solidFill>
                <a:latin typeface="Audi Type" panose="020B0503040200000003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1219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dirty="0" smtClean="0"/>
              <a:t>标题 </a:t>
            </a:r>
            <a:r>
              <a:rPr lang="en-US" altLang="zh-CN" dirty="0" smtClean="0"/>
              <a:t>Title 2</a:t>
            </a:r>
            <a:r>
              <a:rPr lang="zh-CN" altLang="en-US" dirty="0" smtClean="0"/>
              <a:t>，微软雅黑 </a:t>
            </a:r>
            <a:r>
              <a:rPr lang="en-US" altLang="zh-CN" dirty="0" smtClean="0"/>
              <a:t>Audi Type</a:t>
            </a:r>
            <a:r>
              <a:rPr lang="zh-CN" altLang="en-US" dirty="0" smtClean="0"/>
              <a:t>，</a:t>
            </a:r>
            <a:r>
              <a:rPr lang="en-US" altLang="zh-CN" dirty="0" smtClean="0"/>
              <a:t>14</a:t>
            </a:r>
            <a:endParaRPr lang="zh-CN" altLang="en-US" dirty="0" smtClean="0"/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446930" y="4185128"/>
            <a:ext cx="8161569" cy="396000"/>
          </a:xfrm>
          <a:prstGeom prst="rect">
            <a:avLst/>
          </a:prstGeom>
          <a:noFill/>
        </p:spPr>
        <p:txBody>
          <a:bodyPr lIns="0" tIns="108000" bIns="108000" anchor="ctr">
            <a:noAutofit/>
          </a:bodyPr>
          <a:lstStyle>
            <a:lvl1pPr marL="0" marR="0" indent="0" algn="l" defTabSz="1219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865" b="0" baseline="0">
                <a:solidFill>
                  <a:schemeClr val="bg2"/>
                </a:solidFill>
                <a:latin typeface="Audi Type" panose="020B0503040200000003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1219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dirty="0" smtClean="0"/>
              <a:t>标题 </a:t>
            </a:r>
            <a:r>
              <a:rPr lang="en-US" altLang="zh-CN" dirty="0" smtClean="0"/>
              <a:t>Title 3</a:t>
            </a:r>
            <a:r>
              <a:rPr lang="zh-CN" altLang="en-US" dirty="0" smtClean="0"/>
              <a:t>，微软雅黑 </a:t>
            </a:r>
            <a:r>
              <a:rPr lang="en-US" altLang="zh-CN" dirty="0" smtClean="0"/>
              <a:t>Audi Type</a:t>
            </a:r>
            <a:r>
              <a:rPr lang="zh-CN" altLang="en-US" dirty="0" smtClean="0"/>
              <a:t>，</a:t>
            </a:r>
            <a:r>
              <a:rPr lang="en-US" altLang="zh-CN" dirty="0" smtClean="0"/>
              <a:t>14</a:t>
            </a:r>
            <a:endParaRPr lang="zh-CN" altLang="en-US" dirty="0" smtClean="0"/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446930" y="5157192"/>
            <a:ext cx="8161569" cy="396000"/>
          </a:xfrm>
          <a:prstGeom prst="rect">
            <a:avLst/>
          </a:prstGeom>
          <a:noFill/>
        </p:spPr>
        <p:txBody>
          <a:bodyPr lIns="0" tIns="108000" bIns="108000" anchor="ctr">
            <a:noAutofit/>
          </a:bodyPr>
          <a:lstStyle>
            <a:lvl1pPr marL="0" marR="0" indent="0" algn="l" defTabSz="1219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865" b="0" baseline="0">
                <a:solidFill>
                  <a:schemeClr val="bg2"/>
                </a:solidFill>
                <a:latin typeface="Audi Type" panose="020B0503040200000003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1219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dirty="0" smtClean="0"/>
              <a:t>标题 </a:t>
            </a:r>
            <a:r>
              <a:rPr lang="en-US" altLang="zh-CN" dirty="0" smtClean="0"/>
              <a:t>Title 4</a:t>
            </a:r>
            <a:r>
              <a:rPr lang="zh-CN" altLang="en-US" dirty="0" smtClean="0"/>
              <a:t>，微软雅黑 </a:t>
            </a:r>
            <a:r>
              <a:rPr lang="en-US" altLang="zh-CN" dirty="0" smtClean="0"/>
              <a:t>Audi Type</a:t>
            </a:r>
            <a:r>
              <a:rPr lang="zh-CN" altLang="en-US" dirty="0" smtClean="0"/>
              <a:t>，</a:t>
            </a:r>
            <a:r>
              <a:rPr lang="en-US" altLang="zh-CN" dirty="0" smtClean="0"/>
              <a:t>14</a:t>
            </a:r>
            <a:endParaRPr lang="zh-CN" altLang="en-US" dirty="0" smtClean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433593" y="2123868"/>
            <a:ext cx="8161569" cy="396000"/>
          </a:xfrm>
          <a:prstGeom prst="rect">
            <a:avLst/>
          </a:prstGeom>
          <a:noFill/>
        </p:spPr>
        <p:txBody>
          <a:bodyPr lIns="0" tIns="108000" bIns="108000" anchor="ctr">
            <a:noAutofit/>
          </a:bodyPr>
          <a:lstStyle>
            <a:lvl1pPr marL="0" marR="0" indent="0" algn="l" defTabSz="1219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865" b="0" baseline="0">
                <a:solidFill>
                  <a:schemeClr val="bg2"/>
                </a:solidFill>
                <a:latin typeface="Audi Type" panose="020B0503040200000003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1219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dirty="0" smtClean="0"/>
              <a:t>标题 </a:t>
            </a:r>
            <a:r>
              <a:rPr lang="en-US" altLang="zh-CN" dirty="0" smtClean="0"/>
              <a:t>Title 1</a:t>
            </a:r>
            <a:r>
              <a:rPr lang="zh-CN" altLang="en-US" dirty="0" smtClean="0"/>
              <a:t>，微软雅黑</a:t>
            </a:r>
            <a:r>
              <a:rPr lang="en-US" altLang="zh-CN" dirty="0" smtClean="0"/>
              <a:t> Audi Type</a:t>
            </a:r>
            <a:r>
              <a:rPr lang="zh-CN" altLang="en-US" dirty="0" smtClean="0"/>
              <a:t>，</a:t>
            </a:r>
            <a:r>
              <a:rPr lang="en-US" altLang="zh-CN" dirty="0" smtClean="0"/>
              <a:t>14</a:t>
            </a:r>
            <a:endParaRPr lang="zh-CN" alt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utoShape 7"/>
          <p:cNvSpPr>
            <a:spLocks noChangeArrowheads="1"/>
          </p:cNvSpPr>
          <p:nvPr userDrawn="1"/>
        </p:nvSpPr>
        <p:spPr bwMode="auto">
          <a:xfrm>
            <a:off x="753533" y="2655288"/>
            <a:ext cx="1507067" cy="658813"/>
          </a:xfrm>
          <a:prstGeom prst="homePlate">
            <a:avLst>
              <a:gd name="adj" fmla="val 22447"/>
            </a:avLst>
          </a:prstGeom>
          <a:solidFill>
            <a:srgbClr val="E7E6E6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fontAlgn="ctr" hangingPunct="0">
              <a:lnSpc>
                <a:spcPct val="110000"/>
              </a:lnSpc>
              <a:spcBef>
                <a:spcPct val="30000"/>
              </a:spcBef>
              <a:buClr>
                <a:schemeClr val="accent2"/>
              </a:buClr>
              <a:buSzPct val="80000"/>
              <a:buFont typeface="Arial" panose="020B0604020202020204" pitchFamily="34" charset="0"/>
              <a:buChar char="►"/>
              <a:defRPr sz="1600">
                <a:solidFill>
                  <a:schemeClr val="tx1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742950" indent="-285750" eaLnBrk="0" fontAlgn="ctr" hangingPunct="0">
              <a:lnSpc>
                <a:spcPct val="110000"/>
              </a:lnSpc>
              <a:spcBef>
                <a:spcPct val="30000"/>
              </a:spcBef>
              <a:buClr>
                <a:schemeClr val="hlink"/>
              </a:buClr>
              <a:buSzPct val="80000"/>
              <a:buFont typeface="Arial" panose="020B0604020202020204" pitchFamily="34" charset="0"/>
              <a:buChar char="►"/>
              <a:defRPr sz="1600">
                <a:solidFill>
                  <a:schemeClr val="tx1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30000"/>
              </a:spcBef>
              <a:buFont typeface="Audi Type" panose="020B0503040200000003" charset="0"/>
              <a:buChar char="•"/>
              <a:defRPr sz="1600">
                <a:solidFill>
                  <a:schemeClr val="tx1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9pPr>
          </a:lstStyle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C0033"/>
              </a:buClr>
              <a:buSzTx/>
              <a:buFont typeface="Audi Type" panose="020B0503040200000003" charset="0"/>
              <a:buNone/>
              <a:defRPr/>
            </a:pPr>
            <a:endParaRPr kumimoji="0" lang="zh-CN" altLang="en-US" sz="2135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Text Box 8"/>
          <p:cNvSpPr txBox="1">
            <a:spLocks noChangeArrowheads="1"/>
          </p:cNvSpPr>
          <p:nvPr userDrawn="1"/>
        </p:nvSpPr>
        <p:spPr bwMode="auto">
          <a:xfrm>
            <a:off x="857256" y="2821377"/>
            <a:ext cx="1172633" cy="328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fontAlgn="ctr" hangingPunct="0">
              <a:lnSpc>
                <a:spcPct val="110000"/>
              </a:lnSpc>
              <a:spcBef>
                <a:spcPct val="30000"/>
              </a:spcBef>
              <a:buClr>
                <a:schemeClr val="accent2"/>
              </a:buClr>
              <a:buSzPct val="80000"/>
              <a:buFont typeface="Arial" panose="020B0604020202020204" pitchFamily="34" charset="0"/>
              <a:buChar char="►"/>
              <a:defRPr sz="1600">
                <a:solidFill>
                  <a:schemeClr val="tx1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742950" indent="-285750" eaLnBrk="0" fontAlgn="ctr" hangingPunct="0">
              <a:lnSpc>
                <a:spcPct val="110000"/>
              </a:lnSpc>
              <a:spcBef>
                <a:spcPct val="30000"/>
              </a:spcBef>
              <a:buClr>
                <a:schemeClr val="hlink"/>
              </a:buClr>
              <a:buSzPct val="80000"/>
              <a:buFont typeface="Arial" panose="020B0604020202020204" pitchFamily="34" charset="0"/>
              <a:buChar char="►"/>
              <a:defRPr sz="1600">
                <a:solidFill>
                  <a:schemeClr val="tx1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30000"/>
              </a:spcBef>
              <a:buFont typeface="Audi Type" panose="020B0503040200000003" charset="0"/>
              <a:buChar char="•"/>
              <a:defRPr sz="1600">
                <a:solidFill>
                  <a:schemeClr val="tx1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9pPr>
          </a:lstStyle>
          <a:p>
            <a:pPr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zh-CN" sz="2135" baseline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en-US" altLang="zh-CN" sz="2135" baseline="0" dirty="0" smtClean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Freeform 9"/>
          <p:cNvSpPr/>
          <p:nvPr userDrawn="1"/>
        </p:nvSpPr>
        <p:spPr bwMode="auto">
          <a:xfrm>
            <a:off x="2180167" y="2655288"/>
            <a:ext cx="9196917" cy="658813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rgbClr val="E7E6E6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round/>
              </a14:hiddenLine>
            </a:ext>
          </a:extLst>
        </p:spPr>
        <p:txBody>
          <a:bodyPr lIns="121835" tIns="60917" rIns="121835" bIns="60917"/>
          <a:lstStyle/>
          <a:p>
            <a:pPr marL="0" marR="0" lvl="0" indent="0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2135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AutoShape 11"/>
          <p:cNvSpPr>
            <a:spLocks noChangeArrowheads="1"/>
          </p:cNvSpPr>
          <p:nvPr userDrawn="1"/>
        </p:nvSpPr>
        <p:spPr bwMode="auto">
          <a:xfrm>
            <a:off x="753533" y="1757107"/>
            <a:ext cx="1507067" cy="658812"/>
          </a:xfrm>
          <a:prstGeom prst="homePlate">
            <a:avLst>
              <a:gd name="adj" fmla="val 22447"/>
            </a:avLst>
          </a:prstGeom>
          <a:solidFill>
            <a:srgbClr val="E7E6E6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marR="0" lvl="0" indent="0" algn="ctr" fontAlgn="base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C0033"/>
              </a:buClr>
              <a:buSzTx/>
              <a:buFont typeface="Audi Type" panose="020B0503040200000003" charset="0"/>
              <a:buNone/>
            </a:pPr>
            <a:endParaRPr kumimoji="0" lang="zh-CN" altLang="en-US" sz="2135" i="0" u="none" strike="noStrike" kern="0" cap="none" spc="0" normalizeH="0" baseline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" name="Text Box 12"/>
          <p:cNvSpPr txBox="1">
            <a:spLocks noChangeArrowheads="1"/>
          </p:cNvSpPr>
          <p:nvPr userDrawn="1"/>
        </p:nvSpPr>
        <p:spPr bwMode="auto">
          <a:xfrm>
            <a:off x="857256" y="1923194"/>
            <a:ext cx="1172633" cy="328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fontAlgn="ctr" hangingPunct="0">
              <a:lnSpc>
                <a:spcPct val="110000"/>
              </a:lnSpc>
              <a:spcBef>
                <a:spcPct val="30000"/>
              </a:spcBef>
              <a:buClr>
                <a:schemeClr val="accent2"/>
              </a:buClr>
              <a:buSzPct val="80000"/>
              <a:buFont typeface="Arial" panose="020B0604020202020204" pitchFamily="34" charset="0"/>
              <a:buChar char="►"/>
              <a:defRPr sz="1600">
                <a:solidFill>
                  <a:schemeClr val="tx1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742950" indent="-285750" eaLnBrk="0" fontAlgn="ctr" hangingPunct="0">
              <a:lnSpc>
                <a:spcPct val="110000"/>
              </a:lnSpc>
              <a:spcBef>
                <a:spcPct val="30000"/>
              </a:spcBef>
              <a:buClr>
                <a:schemeClr val="hlink"/>
              </a:buClr>
              <a:buSzPct val="80000"/>
              <a:buFont typeface="Arial" panose="020B0604020202020204" pitchFamily="34" charset="0"/>
              <a:buChar char="►"/>
              <a:defRPr sz="1600">
                <a:solidFill>
                  <a:schemeClr val="tx1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30000"/>
              </a:spcBef>
              <a:buFont typeface="Audi Type" panose="020B0503040200000003" charset="0"/>
              <a:buChar char="•"/>
              <a:defRPr sz="1600">
                <a:solidFill>
                  <a:schemeClr val="tx1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9pPr>
          </a:lstStyle>
          <a:p>
            <a:pPr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zh-CN" sz="2135" baseline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en-US" altLang="zh-CN" sz="2135" baseline="0" dirty="0" smtClean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Freeform 13"/>
          <p:cNvSpPr/>
          <p:nvPr userDrawn="1"/>
        </p:nvSpPr>
        <p:spPr bwMode="auto">
          <a:xfrm>
            <a:off x="2180167" y="1757107"/>
            <a:ext cx="9196917" cy="658812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rgbClr val="E7E6E6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round/>
              </a14:hiddenLine>
            </a:ext>
          </a:extLst>
        </p:spPr>
        <p:txBody>
          <a:bodyPr lIns="121835" tIns="60917" rIns="121835" bIns="60917"/>
          <a:lstStyle/>
          <a:p>
            <a: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2135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AutoShape 7"/>
          <p:cNvSpPr>
            <a:spLocks noChangeArrowheads="1"/>
          </p:cNvSpPr>
          <p:nvPr userDrawn="1"/>
        </p:nvSpPr>
        <p:spPr bwMode="auto">
          <a:xfrm>
            <a:off x="766583" y="3553468"/>
            <a:ext cx="1507067" cy="658813"/>
          </a:xfrm>
          <a:prstGeom prst="homePlate">
            <a:avLst>
              <a:gd name="adj" fmla="val 22447"/>
            </a:avLst>
          </a:prstGeom>
          <a:solidFill>
            <a:srgbClr val="E7E6E6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fontAlgn="ctr" hangingPunct="0">
              <a:lnSpc>
                <a:spcPct val="110000"/>
              </a:lnSpc>
              <a:spcBef>
                <a:spcPct val="30000"/>
              </a:spcBef>
              <a:buClr>
                <a:schemeClr val="accent2"/>
              </a:buClr>
              <a:buSzPct val="80000"/>
              <a:buFont typeface="Arial" panose="020B0604020202020204" pitchFamily="34" charset="0"/>
              <a:buChar char="►"/>
              <a:defRPr sz="1600">
                <a:solidFill>
                  <a:schemeClr val="tx1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742950" indent="-285750" eaLnBrk="0" fontAlgn="ctr" hangingPunct="0">
              <a:lnSpc>
                <a:spcPct val="110000"/>
              </a:lnSpc>
              <a:spcBef>
                <a:spcPct val="30000"/>
              </a:spcBef>
              <a:buClr>
                <a:schemeClr val="hlink"/>
              </a:buClr>
              <a:buSzPct val="80000"/>
              <a:buFont typeface="Arial" panose="020B0604020202020204" pitchFamily="34" charset="0"/>
              <a:buChar char="►"/>
              <a:defRPr sz="1600">
                <a:solidFill>
                  <a:schemeClr val="tx1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30000"/>
              </a:spcBef>
              <a:buFont typeface="Audi Type" panose="020B0503040200000003" charset="0"/>
              <a:buChar char="•"/>
              <a:defRPr sz="1600">
                <a:solidFill>
                  <a:schemeClr val="tx1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9pPr>
          </a:lstStyle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C0033"/>
              </a:buClr>
              <a:buSzTx/>
              <a:buFont typeface="Audi Type" panose="020B0503040200000003" charset="0"/>
              <a:buNone/>
              <a:defRPr/>
            </a:pPr>
            <a:endParaRPr kumimoji="0" lang="zh-CN" altLang="en-US" sz="2135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Text Box 8"/>
          <p:cNvSpPr txBox="1">
            <a:spLocks noChangeArrowheads="1"/>
          </p:cNvSpPr>
          <p:nvPr userDrawn="1"/>
        </p:nvSpPr>
        <p:spPr bwMode="auto">
          <a:xfrm>
            <a:off x="870305" y="3719557"/>
            <a:ext cx="1172633" cy="328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fontAlgn="ctr" hangingPunct="0">
              <a:lnSpc>
                <a:spcPct val="110000"/>
              </a:lnSpc>
              <a:spcBef>
                <a:spcPct val="30000"/>
              </a:spcBef>
              <a:buClr>
                <a:schemeClr val="accent2"/>
              </a:buClr>
              <a:buSzPct val="80000"/>
              <a:buFont typeface="Arial" panose="020B0604020202020204" pitchFamily="34" charset="0"/>
              <a:buChar char="►"/>
              <a:defRPr sz="1600">
                <a:solidFill>
                  <a:schemeClr val="tx1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742950" indent="-285750" eaLnBrk="0" fontAlgn="ctr" hangingPunct="0">
              <a:lnSpc>
                <a:spcPct val="110000"/>
              </a:lnSpc>
              <a:spcBef>
                <a:spcPct val="30000"/>
              </a:spcBef>
              <a:buClr>
                <a:schemeClr val="hlink"/>
              </a:buClr>
              <a:buSzPct val="80000"/>
              <a:buFont typeface="Arial" panose="020B0604020202020204" pitchFamily="34" charset="0"/>
              <a:buChar char="►"/>
              <a:defRPr sz="1600">
                <a:solidFill>
                  <a:schemeClr val="tx1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30000"/>
              </a:spcBef>
              <a:buFont typeface="Audi Type" panose="020B0503040200000003" charset="0"/>
              <a:buChar char="•"/>
              <a:defRPr sz="1600">
                <a:solidFill>
                  <a:schemeClr val="tx1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9pPr>
          </a:lstStyle>
          <a:p>
            <a:pPr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zh-CN" sz="2135" baseline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lang="en-US" altLang="zh-CN" sz="2135" baseline="0" dirty="0" smtClean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Freeform 9"/>
          <p:cNvSpPr/>
          <p:nvPr userDrawn="1"/>
        </p:nvSpPr>
        <p:spPr bwMode="auto">
          <a:xfrm>
            <a:off x="2193216" y="3553468"/>
            <a:ext cx="9196917" cy="658813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rgbClr val="E7E6E6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round/>
              </a14:hiddenLine>
            </a:ext>
          </a:extLst>
        </p:spPr>
        <p:txBody>
          <a:bodyPr lIns="121835" tIns="60917" rIns="121835" bIns="60917"/>
          <a:lstStyle/>
          <a:p>
            <a:pPr marL="0" marR="0" lvl="0" indent="0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2135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AutoShape 7"/>
          <p:cNvSpPr>
            <a:spLocks noChangeArrowheads="1"/>
          </p:cNvSpPr>
          <p:nvPr userDrawn="1"/>
        </p:nvSpPr>
        <p:spPr bwMode="auto">
          <a:xfrm>
            <a:off x="779632" y="4451651"/>
            <a:ext cx="1507067" cy="658813"/>
          </a:xfrm>
          <a:prstGeom prst="homePlate">
            <a:avLst>
              <a:gd name="adj" fmla="val 22447"/>
            </a:avLst>
          </a:prstGeom>
          <a:solidFill>
            <a:srgbClr val="E7E6E6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fontAlgn="ctr" hangingPunct="0">
              <a:lnSpc>
                <a:spcPct val="110000"/>
              </a:lnSpc>
              <a:spcBef>
                <a:spcPct val="30000"/>
              </a:spcBef>
              <a:buClr>
                <a:schemeClr val="accent2"/>
              </a:buClr>
              <a:buSzPct val="80000"/>
              <a:buFont typeface="Arial" panose="020B0604020202020204" pitchFamily="34" charset="0"/>
              <a:buChar char="►"/>
              <a:defRPr sz="1600">
                <a:solidFill>
                  <a:schemeClr val="tx1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742950" indent="-285750" eaLnBrk="0" fontAlgn="ctr" hangingPunct="0">
              <a:lnSpc>
                <a:spcPct val="110000"/>
              </a:lnSpc>
              <a:spcBef>
                <a:spcPct val="30000"/>
              </a:spcBef>
              <a:buClr>
                <a:schemeClr val="hlink"/>
              </a:buClr>
              <a:buSzPct val="80000"/>
              <a:buFont typeface="Arial" panose="020B0604020202020204" pitchFamily="34" charset="0"/>
              <a:buChar char="►"/>
              <a:defRPr sz="1600">
                <a:solidFill>
                  <a:schemeClr val="tx1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30000"/>
              </a:spcBef>
              <a:buFont typeface="Audi Type" panose="020B0503040200000003" charset="0"/>
              <a:buChar char="•"/>
              <a:defRPr sz="1600">
                <a:solidFill>
                  <a:schemeClr val="tx1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9pPr>
          </a:lstStyle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C0033"/>
              </a:buClr>
              <a:buSzTx/>
              <a:buFont typeface="Audi Type" panose="020B0503040200000003" charset="0"/>
              <a:buNone/>
              <a:defRPr/>
            </a:pPr>
            <a:endParaRPr kumimoji="0" lang="zh-CN" altLang="en-US" sz="2135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Text Box 8"/>
          <p:cNvSpPr txBox="1">
            <a:spLocks noChangeArrowheads="1"/>
          </p:cNvSpPr>
          <p:nvPr userDrawn="1"/>
        </p:nvSpPr>
        <p:spPr bwMode="auto">
          <a:xfrm>
            <a:off x="883354" y="4617739"/>
            <a:ext cx="1172633" cy="328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fontAlgn="ctr" hangingPunct="0">
              <a:lnSpc>
                <a:spcPct val="110000"/>
              </a:lnSpc>
              <a:spcBef>
                <a:spcPct val="30000"/>
              </a:spcBef>
              <a:buClr>
                <a:schemeClr val="accent2"/>
              </a:buClr>
              <a:buSzPct val="80000"/>
              <a:buFont typeface="Arial" panose="020B0604020202020204" pitchFamily="34" charset="0"/>
              <a:buChar char="►"/>
              <a:defRPr sz="1600">
                <a:solidFill>
                  <a:schemeClr val="tx1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742950" indent="-285750" eaLnBrk="0" fontAlgn="ctr" hangingPunct="0">
              <a:lnSpc>
                <a:spcPct val="110000"/>
              </a:lnSpc>
              <a:spcBef>
                <a:spcPct val="30000"/>
              </a:spcBef>
              <a:buClr>
                <a:schemeClr val="hlink"/>
              </a:buClr>
              <a:buSzPct val="80000"/>
              <a:buFont typeface="Arial" panose="020B0604020202020204" pitchFamily="34" charset="0"/>
              <a:buChar char="►"/>
              <a:defRPr sz="1600">
                <a:solidFill>
                  <a:schemeClr val="tx1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30000"/>
              </a:spcBef>
              <a:buFont typeface="Audi Type" panose="020B0503040200000003" charset="0"/>
              <a:buChar char="•"/>
              <a:defRPr sz="1600">
                <a:solidFill>
                  <a:schemeClr val="tx1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udi Type" panose="020B0503040200000003" charset="0"/>
              <a:buChar char="►"/>
              <a:defRPr sz="1600">
                <a:solidFill>
                  <a:schemeClr val="hlink"/>
                </a:solidFill>
                <a:latin typeface="Audi Type" panose="020B0503040200000003" charset="0"/>
                <a:ea typeface="微软雅黑" panose="020B0503020204020204" pitchFamily="34" charset="-122"/>
                <a:cs typeface="Arial" panose="020B0604020202020204" pitchFamily="34" charset="0"/>
              </a:defRPr>
            </a:lvl9pPr>
          </a:lstStyle>
          <a:p>
            <a:pPr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zh-CN" sz="2135" baseline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endParaRPr lang="en-US" altLang="zh-CN" sz="2135" baseline="0" dirty="0" smtClean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Freeform 9"/>
          <p:cNvSpPr/>
          <p:nvPr userDrawn="1"/>
        </p:nvSpPr>
        <p:spPr bwMode="auto">
          <a:xfrm>
            <a:off x="2206266" y="4451651"/>
            <a:ext cx="9196917" cy="658813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rgbClr val="E7E6E6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round/>
              </a14:hiddenLine>
            </a:ext>
          </a:extLst>
        </p:spPr>
        <p:txBody>
          <a:bodyPr lIns="121835" tIns="60917" rIns="121835" bIns="60917"/>
          <a:lstStyle/>
          <a:p>
            <a:pPr marL="0" marR="0" lvl="0" indent="0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2135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43608" y="2756925"/>
            <a:ext cx="8161569" cy="396000"/>
          </a:xfrm>
          <a:prstGeom prst="rect">
            <a:avLst/>
          </a:prstGeom>
          <a:noFill/>
        </p:spPr>
        <p:txBody>
          <a:bodyPr lIns="0" tIns="108000" bIns="108000" anchor="ctr">
            <a:noAutofit/>
          </a:bodyPr>
          <a:lstStyle>
            <a:lvl1pPr marL="0" marR="0" indent="0" algn="l" defTabSz="1219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865" b="0" baseline="0">
                <a:solidFill>
                  <a:schemeClr val="bg2"/>
                </a:solidFill>
                <a:latin typeface="Audi Type" panose="020B0503040200000003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1219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noProof="0" dirty="0" smtClean="0"/>
              <a:t>标题 </a:t>
            </a:r>
            <a:r>
              <a:rPr lang="en-US" altLang="zh-CN" noProof="0" dirty="0" smtClean="0"/>
              <a:t>Title 2</a:t>
            </a:r>
            <a:r>
              <a:rPr lang="zh-CN" altLang="en-US" noProof="0" dirty="0" smtClean="0"/>
              <a:t>，微软雅黑 </a:t>
            </a:r>
            <a:r>
              <a:rPr lang="en-US" altLang="zh-CN" noProof="0" dirty="0" smtClean="0"/>
              <a:t>Audi Type</a:t>
            </a:r>
            <a:r>
              <a:rPr lang="zh-CN" altLang="en-US" noProof="0" dirty="0" smtClean="0"/>
              <a:t>，</a:t>
            </a:r>
            <a:r>
              <a:rPr lang="en-US" altLang="zh-CN" noProof="0" dirty="0" smtClean="0"/>
              <a:t>14</a:t>
            </a:r>
            <a:endParaRPr lang="zh-CN" altLang="en-US" dirty="0" smtClean="0"/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43606" y="3693117"/>
            <a:ext cx="8161569" cy="396000"/>
          </a:xfrm>
          <a:prstGeom prst="rect">
            <a:avLst/>
          </a:prstGeom>
          <a:noFill/>
        </p:spPr>
        <p:txBody>
          <a:bodyPr lIns="0" tIns="108000" bIns="108000" anchor="ctr">
            <a:noAutofit/>
          </a:bodyPr>
          <a:lstStyle>
            <a:lvl1pPr marL="0" marR="0" indent="0" algn="l" defTabSz="1219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865" b="0" baseline="0">
                <a:solidFill>
                  <a:schemeClr val="bg2"/>
                </a:solidFill>
                <a:latin typeface="Audi Type" panose="020B0503040200000003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1219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noProof="0" dirty="0" smtClean="0"/>
              <a:t>标题 </a:t>
            </a:r>
            <a:r>
              <a:rPr lang="en-US" altLang="zh-CN" noProof="0" dirty="0" smtClean="0"/>
              <a:t>Title 3</a:t>
            </a:r>
            <a:r>
              <a:rPr lang="zh-CN" altLang="en-US" noProof="0" dirty="0" smtClean="0"/>
              <a:t>，微软雅黑 </a:t>
            </a:r>
            <a:r>
              <a:rPr lang="en-US" altLang="zh-CN" noProof="0" dirty="0" smtClean="0"/>
              <a:t>Audi Type</a:t>
            </a:r>
            <a:r>
              <a:rPr lang="zh-CN" altLang="en-US" noProof="0" dirty="0" smtClean="0"/>
              <a:t>，</a:t>
            </a:r>
            <a:r>
              <a:rPr lang="en-US" altLang="zh-CN" noProof="0" dirty="0" smtClean="0"/>
              <a:t>14</a:t>
            </a:r>
            <a:endParaRPr lang="zh-CN" altLang="en-US" dirty="0" smtClean="0"/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43608" y="4581128"/>
            <a:ext cx="8161569" cy="396000"/>
          </a:xfrm>
          <a:prstGeom prst="rect">
            <a:avLst/>
          </a:prstGeom>
          <a:noFill/>
        </p:spPr>
        <p:txBody>
          <a:bodyPr lIns="0" tIns="108000" bIns="108000" anchor="ctr">
            <a:noAutofit/>
          </a:bodyPr>
          <a:lstStyle>
            <a:lvl1pPr marL="0" marR="0" indent="0" algn="l" defTabSz="1219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865" b="0" baseline="0">
                <a:solidFill>
                  <a:schemeClr val="bg2"/>
                </a:solidFill>
                <a:latin typeface="Audi Type" panose="020B0503040200000003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1219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noProof="0" dirty="0" smtClean="0"/>
              <a:t>标题 </a:t>
            </a:r>
            <a:r>
              <a:rPr lang="en-US" altLang="zh-CN" noProof="0" dirty="0" smtClean="0"/>
              <a:t>Title 4</a:t>
            </a:r>
            <a:r>
              <a:rPr lang="zh-CN" altLang="en-US" noProof="0" dirty="0" smtClean="0"/>
              <a:t>，微软雅黑</a:t>
            </a:r>
            <a:r>
              <a:rPr lang="en-US" altLang="zh-CN" noProof="0" dirty="0" smtClean="0"/>
              <a:t> </a:t>
            </a:r>
            <a:r>
              <a:rPr lang="zh-CN" altLang="en-US" noProof="0" dirty="0" smtClean="0"/>
              <a:t> </a:t>
            </a:r>
            <a:r>
              <a:rPr lang="en-US" altLang="zh-CN" noProof="0" dirty="0" smtClean="0"/>
              <a:t>Audi Type</a:t>
            </a:r>
            <a:r>
              <a:rPr lang="zh-CN" altLang="en-US" noProof="0" dirty="0" smtClean="0"/>
              <a:t>，</a:t>
            </a:r>
            <a:r>
              <a:rPr lang="en-US" altLang="zh-CN" noProof="0" dirty="0" smtClean="0"/>
              <a:t>14</a:t>
            </a:r>
            <a:endParaRPr lang="zh-CN" altLang="en-US" dirty="0" smtClean="0"/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542944" y="1892829"/>
            <a:ext cx="8161569" cy="396000"/>
          </a:xfrm>
          <a:prstGeom prst="rect">
            <a:avLst/>
          </a:prstGeom>
          <a:noFill/>
        </p:spPr>
        <p:txBody>
          <a:bodyPr lIns="0" tIns="108000" bIns="108000" anchor="ctr">
            <a:noAutofit/>
          </a:bodyPr>
          <a:lstStyle>
            <a:lvl1pPr marL="0" marR="0" indent="0" algn="l" defTabSz="1219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865" b="0" baseline="0">
                <a:solidFill>
                  <a:schemeClr val="bg2"/>
                </a:solidFill>
                <a:latin typeface="Audi Type" panose="020B0503040200000003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1219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noProof="0" dirty="0" smtClean="0"/>
              <a:t>标题 </a:t>
            </a:r>
            <a:r>
              <a:rPr lang="en-US" altLang="zh-CN" noProof="0" dirty="0" smtClean="0"/>
              <a:t>Title 1</a:t>
            </a:r>
            <a:r>
              <a:rPr lang="zh-CN" altLang="en-US" noProof="0" dirty="0" smtClean="0"/>
              <a:t>，微软雅黑 </a:t>
            </a:r>
            <a:r>
              <a:rPr lang="en-US" altLang="zh-CN" noProof="0" dirty="0" smtClean="0"/>
              <a:t>Audi Type</a:t>
            </a:r>
            <a:r>
              <a:rPr lang="zh-CN" altLang="en-US" noProof="0" dirty="0" smtClean="0"/>
              <a:t>，</a:t>
            </a:r>
            <a:r>
              <a:rPr lang="en-US" altLang="zh-CN" noProof="0" dirty="0" smtClean="0"/>
              <a:t>14</a:t>
            </a:r>
            <a:endParaRPr lang="zh-CN" altLang="en-US" dirty="0" smtClean="0"/>
          </a:p>
        </p:txBody>
      </p:sp>
      <p:sp>
        <p:nvSpPr>
          <p:cNvPr id="23" name="标题占位符 1"/>
          <p:cNvSpPr txBox="1"/>
          <p:nvPr userDrawn="1"/>
        </p:nvSpPr>
        <p:spPr>
          <a:xfrm>
            <a:off x="609600" y="274637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kern="1200" baseline="0">
                <a:solidFill>
                  <a:schemeClr val="bg2"/>
                </a:solidFill>
                <a:latin typeface="Audi Type Extended" panose="020B0505040200000003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zh-CN" altLang="en-US" sz="2400" dirty="0" smtClean="0"/>
              <a:t>目录 </a:t>
            </a:r>
            <a:r>
              <a:rPr lang="en-US" altLang="zh-CN" sz="2400" dirty="0" smtClean="0"/>
              <a:t>Content</a:t>
            </a:r>
            <a:endParaRPr lang="zh-CN" altLang="en-US" sz="2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文本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01288" y="1508360"/>
            <a:ext cx="5198368" cy="768512"/>
          </a:xfrm>
          <a:prstGeom prst="rect">
            <a:avLst/>
          </a:prstGeom>
          <a:noFill/>
        </p:spPr>
        <p:txBody>
          <a:bodyPr lIns="0" tIns="108000" bIns="108000" anchor="ctr">
            <a:noAutofit/>
          </a:bodyPr>
          <a:lstStyle>
            <a:lvl1pPr marL="0" marR="0" indent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2400" b="0" baseline="0">
                <a:solidFill>
                  <a:schemeClr val="bg2"/>
                </a:solidFill>
                <a:latin typeface="Audi Type" panose="020B0503040200000003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noProof="0" dirty="0" smtClean="0"/>
              <a:t>主文本 </a:t>
            </a:r>
            <a:r>
              <a:rPr lang="en-US" altLang="zh-CN" noProof="0" dirty="0" smtClean="0"/>
              <a:t>Main Text</a:t>
            </a:r>
            <a:r>
              <a:rPr lang="zh-CN" altLang="en-US" noProof="0" dirty="0" smtClean="0"/>
              <a:t>，</a:t>
            </a:r>
            <a:r>
              <a:rPr lang="zh-CN" altLang="en-US" dirty="0" smtClean="0"/>
              <a:t>微软雅黑 </a:t>
            </a:r>
            <a:r>
              <a:rPr lang="en-US" altLang="zh-CN" dirty="0" smtClean="0"/>
              <a:t>Audi Type</a:t>
            </a:r>
            <a:r>
              <a:rPr lang="en-US" altLang="zh-CN" noProof="0" dirty="0" smtClean="0"/>
              <a:t>, 18</a:t>
            </a:r>
            <a:endParaRPr lang="en-GB" altLang="zh-CN" noProof="0" dirty="0" smtClean="0"/>
          </a:p>
        </p:txBody>
      </p:sp>
      <p:cxnSp>
        <p:nvCxnSpPr>
          <p:cNvPr id="11" name="Gerade Verbindung 10"/>
          <p:cNvCxnSpPr/>
          <p:nvPr userDrawn="1"/>
        </p:nvCxnSpPr>
        <p:spPr bwMode="gray">
          <a:xfrm>
            <a:off x="6393591" y="2266535"/>
            <a:ext cx="5184576" cy="0"/>
          </a:xfrm>
          <a:prstGeom prst="line">
            <a:avLst/>
          </a:prstGeom>
          <a:noFill/>
          <a:ln w="28575" cap="flat" cmpd="sng" algn="ctr">
            <a:solidFill>
              <a:schemeClr val="bg2"/>
            </a:solidFill>
            <a:prstDash val="solid"/>
          </a:ln>
          <a:effectLst/>
        </p:spPr>
      </p:cxnSp>
      <p:sp>
        <p:nvSpPr>
          <p:cNvPr id="14" name="Textplatzhalter 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357695" y="1508360"/>
            <a:ext cx="5220472" cy="768513"/>
          </a:xfrm>
          <a:prstGeom prst="rect">
            <a:avLst/>
          </a:prstGeom>
          <a:noFill/>
        </p:spPr>
        <p:txBody>
          <a:bodyPr lIns="0" tIns="108000" bIns="108000" anchor="ctr">
            <a:noAutofit/>
          </a:bodyPr>
          <a:lstStyle>
            <a:lvl1pPr marL="0" marR="0" indent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2400" b="0" baseline="0">
                <a:solidFill>
                  <a:schemeClr val="bg2"/>
                </a:solidFill>
                <a:latin typeface="Audi Type" panose="020B0503040200000003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noProof="0" dirty="0" smtClean="0"/>
              <a:t>主文本 </a:t>
            </a:r>
            <a:r>
              <a:rPr lang="en-US" altLang="zh-CN" noProof="0" dirty="0" smtClean="0"/>
              <a:t>Main Text</a:t>
            </a:r>
            <a:r>
              <a:rPr lang="zh-CN" altLang="en-US" noProof="0" dirty="0" smtClean="0"/>
              <a:t>，微软雅黑 </a:t>
            </a:r>
            <a:r>
              <a:rPr lang="en-US" altLang="zh-CN" dirty="0" smtClean="0"/>
              <a:t>Audi Type</a:t>
            </a:r>
            <a:r>
              <a:rPr lang="en-US" altLang="zh-CN" noProof="0" dirty="0" smtClean="0"/>
              <a:t>, 18</a:t>
            </a:r>
            <a:endParaRPr lang="en-GB" altLang="zh-CN" noProof="0" dirty="0" smtClean="0"/>
          </a:p>
        </p:txBody>
      </p:sp>
      <p:cxnSp>
        <p:nvCxnSpPr>
          <p:cNvPr id="15" name="Gerade Verbindung 10"/>
          <p:cNvCxnSpPr/>
          <p:nvPr userDrawn="1"/>
        </p:nvCxnSpPr>
        <p:spPr bwMode="gray">
          <a:xfrm>
            <a:off x="637184" y="2276872"/>
            <a:ext cx="5184576" cy="0"/>
          </a:xfrm>
          <a:prstGeom prst="line">
            <a:avLst/>
          </a:prstGeom>
          <a:noFill/>
          <a:ln w="28575" cap="flat" cmpd="sng" algn="ctr">
            <a:solidFill>
              <a:schemeClr val="bg2"/>
            </a:solidFill>
            <a:prstDash val="solid"/>
          </a:ln>
          <a:effectLst/>
        </p:spPr>
      </p:cxnSp>
      <p:sp>
        <p:nvSpPr>
          <p:cNvPr id="12" name="Inhaltsplatzhalter 6"/>
          <p:cNvSpPr>
            <a:spLocks noGrp="1"/>
          </p:cNvSpPr>
          <p:nvPr>
            <p:ph sz="quarter" idx="18" hasCustomPrompt="1"/>
            <p:custDataLst>
              <p:tags r:id="rId2"/>
            </p:custDataLst>
          </p:nvPr>
        </p:nvSpPr>
        <p:spPr bwMode="gray">
          <a:xfrm>
            <a:off x="613834" y="2276872"/>
            <a:ext cx="5194135" cy="3888432"/>
          </a:xfrm>
          <a:prstGeom prst="rect">
            <a:avLst/>
          </a:prstGeom>
        </p:spPr>
        <p:txBody>
          <a:bodyPr/>
          <a:lstStyle>
            <a:lvl1pPr marL="381000" indent="-381000">
              <a:lnSpc>
                <a:spcPct val="150000"/>
              </a:lnSpc>
              <a:buClr>
                <a:schemeClr val="tx1"/>
              </a:buClr>
              <a:buFont typeface="Audi Type" panose="020B0503040200000003" charset="0"/>
              <a:buChar char="•"/>
              <a:defRPr sz="2135" b="0" baseline="0">
                <a:solidFill>
                  <a:schemeClr val="bg2"/>
                </a:solidFill>
                <a:latin typeface="Audi Type" panose="020B0503040200000003"/>
                <a:ea typeface="微软雅黑" panose="020B0503020204020204" pitchFamily="34" charset="-122"/>
              </a:defRPr>
            </a:lvl1pPr>
            <a:lvl2pPr marL="720090" indent="-381000">
              <a:lnSpc>
                <a:spcPct val="150000"/>
              </a:lnSpc>
              <a:buClr>
                <a:schemeClr val="accent1"/>
              </a:buClr>
              <a:buFont typeface="Audi Type" panose="020B0503040200000003" charset="0"/>
              <a:buChar char="•"/>
              <a:defRPr sz="1865" b="0" baseline="0">
                <a:solidFill>
                  <a:schemeClr val="bg2"/>
                </a:solidFill>
                <a:latin typeface="Audi Type" panose="020B0503040200000003"/>
                <a:ea typeface="微软雅黑" panose="020B0503020204020204" pitchFamily="34" charset="-122"/>
              </a:defRPr>
            </a:lvl2pPr>
            <a:lvl3pPr marL="1600200" indent="-381000">
              <a:buFont typeface="Arial" panose="020B0604020202020204" pitchFamily="34" charset="0"/>
              <a:buChar char="•"/>
              <a:defRPr b="0">
                <a:latin typeface="Audi Type" panose="020B0503040200000003"/>
                <a:ea typeface="华康黑体W5(P)" panose="020B0500000000000000" pitchFamily="34" charset="-122"/>
              </a:defRPr>
            </a:lvl3pPr>
          </a:lstStyle>
          <a:p>
            <a:pPr lvl="0"/>
            <a:r>
              <a:rPr lang="zh-CN" altLang="en-US" noProof="0" dirty="0" smtClean="0"/>
              <a:t>一级文本 </a:t>
            </a:r>
            <a:r>
              <a:rPr lang="en-US" altLang="zh-CN" noProof="0" dirty="0" smtClean="0"/>
              <a:t>level 1</a:t>
            </a:r>
            <a:r>
              <a:rPr lang="zh-CN" altLang="en-US" noProof="0" dirty="0" smtClean="0"/>
              <a:t>，</a:t>
            </a:r>
            <a:r>
              <a:rPr lang="zh-CN" altLang="en-US" dirty="0" smtClean="0"/>
              <a:t>微软雅黑 </a:t>
            </a:r>
            <a:r>
              <a:rPr lang="en-US" altLang="zh-CN" dirty="0" smtClean="0"/>
              <a:t>Audi Type</a:t>
            </a:r>
            <a:r>
              <a:rPr lang="en-US" altLang="zh-CN" noProof="0" dirty="0" smtClean="0"/>
              <a:t>, 16</a:t>
            </a:r>
            <a:endParaRPr lang="en-GB" noProof="0" dirty="0" smtClean="0"/>
          </a:p>
          <a:p>
            <a:pPr lvl="1"/>
            <a:r>
              <a:rPr lang="zh-CN" altLang="en-US" noProof="0" dirty="0" smtClean="0"/>
              <a:t>二级文本 </a:t>
            </a:r>
            <a:r>
              <a:rPr lang="en-US" altLang="zh-CN" noProof="0" dirty="0" smtClean="0"/>
              <a:t>level 2</a:t>
            </a:r>
            <a:r>
              <a:rPr lang="zh-CN" altLang="en-US" noProof="0" dirty="0" smtClean="0"/>
              <a:t>，</a:t>
            </a:r>
            <a:r>
              <a:rPr lang="zh-CN" altLang="en-US" dirty="0" smtClean="0"/>
              <a:t>微软雅黑 </a:t>
            </a:r>
            <a:r>
              <a:rPr lang="en-US" altLang="zh-CN" dirty="0" smtClean="0"/>
              <a:t>Audi Type,14</a:t>
            </a:r>
            <a:endParaRPr lang="en-US" altLang="zh-CN" noProof="0" dirty="0" smtClean="0"/>
          </a:p>
        </p:txBody>
      </p:sp>
      <p:sp>
        <p:nvSpPr>
          <p:cNvPr id="16" name="Inhaltsplatzhalter 6"/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 bwMode="gray">
          <a:xfrm>
            <a:off x="6374474" y="2276873"/>
            <a:ext cx="5194135" cy="3912433"/>
          </a:xfrm>
          <a:prstGeom prst="rect">
            <a:avLst/>
          </a:prstGeom>
        </p:spPr>
        <p:txBody>
          <a:bodyPr/>
          <a:lstStyle>
            <a:lvl1pPr marL="381000" indent="-381000">
              <a:lnSpc>
                <a:spcPct val="150000"/>
              </a:lnSpc>
              <a:buClr>
                <a:schemeClr val="tx1"/>
              </a:buClr>
              <a:buFont typeface="Audi Type" panose="020B0503040200000003" charset="0"/>
              <a:buChar char="•"/>
              <a:defRPr sz="2135" b="0" baseline="0">
                <a:solidFill>
                  <a:schemeClr val="bg2"/>
                </a:solidFill>
                <a:latin typeface="Audi Type" panose="020B0503040200000003"/>
                <a:ea typeface="微软雅黑" panose="020B0503020204020204" pitchFamily="34" charset="-122"/>
              </a:defRPr>
            </a:lvl1pPr>
            <a:lvl2pPr marL="720090" indent="-381000">
              <a:lnSpc>
                <a:spcPct val="150000"/>
              </a:lnSpc>
              <a:buClr>
                <a:schemeClr val="accent1"/>
              </a:buClr>
              <a:buFont typeface="Audi Type" panose="020B0503040200000003" charset="0"/>
              <a:buChar char="•"/>
              <a:defRPr sz="1865" b="0" baseline="0">
                <a:solidFill>
                  <a:schemeClr val="bg2"/>
                </a:solidFill>
                <a:latin typeface="Audi Type" panose="020B0503040200000003"/>
                <a:ea typeface="微软雅黑" panose="020B0503020204020204" pitchFamily="34" charset="-122"/>
              </a:defRPr>
            </a:lvl2pPr>
            <a:lvl3pPr marL="1600200" indent="-381000">
              <a:buFont typeface="Arial" panose="020B0604020202020204" pitchFamily="34" charset="0"/>
              <a:buChar char="•"/>
              <a:defRPr b="0">
                <a:latin typeface="Audi Type" panose="020B0503040200000003"/>
                <a:ea typeface="华康黑体W5(P)" panose="020B0500000000000000" pitchFamily="34" charset="-122"/>
              </a:defRPr>
            </a:lvl3pPr>
          </a:lstStyle>
          <a:p>
            <a:pPr lvl="0"/>
            <a:r>
              <a:rPr lang="zh-CN" altLang="en-US" noProof="0" dirty="0" smtClean="0"/>
              <a:t>一级文本 </a:t>
            </a:r>
            <a:r>
              <a:rPr lang="en-US" altLang="zh-CN" noProof="0" dirty="0" smtClean="0"/>
              <a:t>level 1</a:t>
            </a:r>
            <a:r>
              <a:rPr lang="zh-CN" altLang="en-US" noProof="0" dirty="0" smtClean="0"/>
              <a:t>，</a:t>
            </a:r>
            <a:r>
              <a:rPr lang="zh-CN" altLang="en-US" dirty="0" smtClean="0"/>
              <a:t>微软雅黑 </a:t>
            </a:r>
            <a:r>
              <a:rPr lang="en-US" altLang="zh-CN" dirty="0" smtClean="0"/>
              <a:t>Audi Type</a:t>
            </a:r>
            <a:r>
              <a:rPr lang="en-US" altLang="zh-CN" noProof="0" dirty="0" smtClean="0"/>
              <a:t>, 16</a:t>
            </a:r>
            <a:endParaRPr lang="en-GB" noProof="0" dirty="0" smtClean="0"/>
          </a:p>
          <a:p>
            <a:pPr lvl="1"/>
            <a:r>
              <a:rPr lang="zh-CN" altLang="en-US" noProof="0" dirty="0" smtClean="0"/>
              <a:t>二级文本 </a:t>
            </a:r>
            <a:r>
              <a:rPr lang="en-US" altLang="zh-CN" noProof="0" dirty="0" smtClean="0"/>
              <a:t>level 2</a:t>
            </a:r>
            <a:r>
              <a:rPr lang="zh-CN" altLang="en-US" noProof="0" dirty="0" smtClean="0"/>
              <a:t>，</a:t>
            </a:r>
            <a:r>
              <a:rPr lang="zh-CN" altLang="en-US" dirty="0" smtClean="0"/>
              <a:t>微软雅黑 </a:t>
            </a:r>
            <a:r>
              <a:rPr lang="en-US" altLang="zh-CN" dirty="0" smtClean="0"/>
              <a:t>Audi Type,14</a:t>
            </a:r>
            <a:endParaRPr lang="en-US" altLang="zh-CN" noProof="0" dirty="0" smtClean="0"/>
          </a:p>
        </p:txBody>
      </p:sp>
      <p:sp>
        <p:nvSpPr>
          <p:cNvPr id="13" name="标题占位符 1"/>
          <p:cNvSpPr>
            <a:spLocks noGrp="1"/>
          </p:cNvSpPr>
          <p:nvPr>
            <p:ph type="title" hasCustomPrompt="1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 smtClean="0"/>
              <a:t>页面标题 </a:t>
            </a:r>
            <a:r>
              <a:rPr lang="en-US" altLang="zh-CN" dirty="0" smtClean="0"/>
              <a:t>Page Title</a:t>
            </a:r>
            <a:r>
              <a:rPr lang="zh-CN" altLang="en-US" dirty="0" smtClean="0"/>
              <a:t>，微软雅黑 </a:t>
            </a:r>
            <a:r>
              <a:rPr lang="en-US" altLang="zh-CN" dirty="0" smtClean="0"/>
              <a:t>Audi Type Extended</a:t>
            </a:r>
            <a:r>
              <a:rPr lang="zh-CN" altLang="en-US" dirty="0" smtClean="0"/>
              <a:t>，</a:t>
            </a:r>
            <a:r>
              <a:rPr lang="en-US" altLang="zh-CN" dirty="0" smtClean="0"/>
              <a:t>18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过渡页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/>
          <p:nvPr userDrawn="1">
            <p:custDataLst>
              <p:tags r:id="rId2"/>
            </p:custDataLst>
          </p:nvPr>
        </p:nvGraphicFramePr>
        <p:xfrm>
          <a:off x="0" y="2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94"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0" name="对象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2"/>
                        <a:ext cx="211667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>
            <p:custDataLst>
              <p:tags r:id="rId5"/>
            </p:custDataLst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609600" y="2564904"/>
            <a:ext cx="10972800" cy="1368152"/>
          </a:xfrm>
          <a:solidFill>
            <a:schemeClr val="tx1"/>
          </a:solidFill>
        </p:spPr>
        <p:txBody>
          <a:bodyPr>
            <a:normAutofit/>
          </a:bodyPr>
          <a:lstStyle>
            <a:lvl1pPr>
              <a:lnSpc>
                <a:spcPct val="100000"/>
              </a:lnSpc>
              <a:defRPr sz="2665" baseline="0">
                <a:solidFill>
                  <a:schemeClr val="bg1"/>
                </a:solidFill>
                <a:latin typeface="Audi Type Extended" panose="020B0505040200000003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 smtClean="0"/>
              <a:t>过渡页主文本 </a:t>
            </a:r>
            <a:r>
              <a:rPr lang="en-US" altLang="zh-CN" dirty="0" smtClean="0"/>
              <a:t>Transition</a:t>
            </a:r>
            <a:r>
              <a:rPr lang="zh-CN" altLang="en-US" dirty="0" smtClean="0"/>
              <a:t>，微软雅黑 </a:t>
            </a:r>
            <a:r>
              <a:rPr lang="en-US" altLang="zh-CN" dirty="0" smtClean="0"/>
              <a:t>Audi Type Extended, 20</a:t>
            </a:r>
            <a:endParaRPr lang="zh-CN" altLang="en-US" dirty="0"/>
          </a:p>
        </p:txBody>
      </p:sp>
      <p:sp>
        <p:nvSpPr>
          <p:cNvPr id="9" name="TextBox 15"/>
          <p:cNvSpPr txBox="1"/>
          <p:nvPr userDrawn="1">
            <p:custDataLst>
              <p:tags r:id="rId7"/>
            </p:custDataLst>
          </p:nvPr>
        </p:nvSpPr>
        <p:spPr>
          <a:xfrm>
            <a:off x="9552384" y="1124747"/>
            <a:ext cx="22082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600" baseline="0" dirty="0" smtClean="0">
                <a:solidFill>
                  <a:prstClr val="white"/>
                </a:solidFill>
                <a:latin typeface="Audi Type" panose="020B0503040200000003" charset="0"/>
                <a:ea typeface="微软雅黑" panose="020B0503020204020204" pitchFamily="34" charset="-122"/>
              </a:rPr>
              <a:t>Transition Page</a:t>
            </a:r>
            <a:endParaRPr lang="en-US" altLang="zh-CN" sz="1600" baseline="0" dirty="0" smtClean="0">
              <a:solidFill>
                <a:prstClr val="white"/>
              </a:solidFill>
              <a:latin typeface="Audi Type" panose="020B0503040200000003" charset="0"/>
              <a:ea typeface="微软雅黑" panose="020B0503020204020204" pitchFamily="34" charset="-122"/>
            </a:endParaRPr>
          </a:p>
        </p:txBody>
      </p:sp>
      <p:sp>
        <p:nvSpPr>
          <p:cNvPr id="10" name="文本框 8"/>
          <p:cNvSpPr txBox="1"/>
          <p:nvPr userDrawn="1">
            <p:custDataLst>
              <p:tags r:id="rId8"/>
            </p:custDataLst>
          </p:nvPr>
        </p:nvSpPr>
        <p:spPr>
          <a:xfrm>
            <a:off x="9648401" y="756774"/>
            <a:ext cx="20162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400" b="1" baseline="0" dirty="0" smtClean="0">
                <a:solidFill>
                  <a:prstClr val="white"/>
                </a:solidFill>
                <a:latin typeface="Audi Type" panose="020B0503040200000003" charset="0"/>
                <a:ea typeface="微软雅黑" panose="020B0503020204020204" pitchFamily="34" charset="-122"/>
              </a:rPr>
              <a:t>过渡页</a:t>
            </a:r>
            <a:endParaRPr lang="zh-CN" altLang="en-US" sz="2400" b="1" baseline="0" dirty="0" smtClean="0">
              <a:solidFill>
                <a:prstClr val="white"/>
              </a:solidFill>
              <a:latin typeface="Audi Type" panose="020B0503040200000003" charset="0"/>
              <a:ea typeface="微软雅黑" panose="020B0503020204020204" pitchFamily="34" charset="-122"/>
            </a:endParaRPr>
          </a:p>
        </p:txBody>
      </p:sp>
      <p:cxnSp>
        <p:nvCxnSpPr>
          <p:cNvPr id="11" name="直接连接符 10"/>
          <p:cNvCxnSpPr/>
          <p:nvPr userDrawn="1">
            <p:custDataLst>
              <p:tags r:id="rId9"/>
            </p:custDataLst>
          </p:nvPr>
        </p:nvCxnSpPr>
        <p:spPr>
          <a:xfrm>
            <a:off x="623392" y="4077072"/>
            <a:ext cx="10945216" cy="0"/>
          </a:xfrm>
          <a:prstGeom prst="line">
            <a:avLst/>
          </a:prstGeom>
          <a:noFill/>
          <a:ln w="57150" cap="flat" cmpd="sng" algn="ctr">
            <a:solidFill>
              <a:schemeClr val="tx1"/>
            </a:solidFill>
            <a:prstDash val="solid"/>
            <a:tailEnd type="triangle"/>
          </a:ln>
          <a:effectLst/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过渡页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/>
          <p:cNvGrpSpPr/>
          <p:nvPr userDrawn="1"/>
        </p:nvGrpSpPr>
        <p:grpSpPr>
          <a:xfrm>
            <a:off x="-1" y="2202441"/>
            <a:ext cx="12192000" cy="2419703"/>
            <a:chOff x="170694" y="177982"/>
            <a:chExt cx="3936003" cy="781165"/>
          </a:xfrm>
        </p:grpSpPr>
        <p:sp>
          <p:nvSpPr>
            <p:cNvPr id="4" name="等腰三角形 3"/>
            <p:cNvSpPr/>
            <p:nvPr/>
          </p:nvSpPr>
          <p:spPr>
            <a:xfrm>
              <a:off x="1233863" y="177982"/>
              <a:ext cx="355284" cy="356514"/>
            </a:xfrm>
            <a:prstGeom prst="triangle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rtlCol="0" anchor="ctr"/>
            <a:lstStyle/>
            <a:p>
              <a:pPr algn="ctr"/>
              <a:endParaRPr lang="zh-CN" altLang="en-US" sz="2400" baseline="0">
                <a:ea typeface="微软雅黑" panose="020B0503020204020204" pitchFamily="34" charset="-122"/>
              </a:endParaRPr>
            </a:p>
          </p:txBody>
        </p:sp>
        <p:sp>
          <p:nvSpPr>
            <p:cNvPr id="5" name="等腰三角形 4"/>
            <p:cNvSpPr/>
            <p:nvPr/>
          </p:nvSpPr>
          <p:spPr>
            <a:xfrm flipV="1">
              <a:off x="200258" y="602633"/>
              <a:ext cx="355284" cy="356514"/>
            </a:xfrm>
            <a:prstGeom prst="triangle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rtlCol="0" anchor="ctr"/>
            <a:lstStyle/>
            <a:p>
              <a:pPr algn="ctr"/>
              <a:endParaRPr lang="zh-CN" altLang="en-US" sz="2400" baseline="0">
                <a:ea typeface="微软雅黑" panose="020B0503020204020204" pitchFamily="34" charset="-122"/>
              </a:endParaRPr>
            </a:p>
          </p:txBody>
        </p:sp>
        <p:sp>
          <p:nvSpPr>
            <p:cNvPr id="6" name="矩形 5"/>
            <p:cNvSpPr/>
            <p:nvPr/>
          </p:nvSpPr>
          <p:spPr>
            <a:xfrm>
              <a:off x="170694" y="261768"/>
              <a:ext cx="3936003" cy="61198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rtlCol="0" anchor="ctr"/>
            <a:lstStyle/>
            <a:p>
              <a:pPr algn="ctr"/>
              <a:endParaRPr lang="zh-CN" altLang="en-US" sz="2400" baseline="0">
                <a:ea typeface="微软雅黑" panose="020B0503020204020204" pitchFamily="34" charset="-122"/>
              </a:endParaRPr>
            </a:p>
          </p:txBody>
        </p:sp>
        <p:sp>
          <p:nvSpPr>
            <p:cNvPr id="7" name="平行四边形 6"/>
            <p:cNvSpPr/>
            <p:nvPr/>
          </p:nvSpPr>
          <p:spPr>
            <a:xfrm>
              <a:off x="376965" y="178257"/>
              <a:ext cx="1036076" cy="779005"/>
            </a:xfrm>
            <a:prstGeom prst="parallelogram">
              <a:avLst>
                <a:gd name="adj" fmla="val 48207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rtlCol="0" anchor="ctr"/>
            <a:lstStyle/>
            <a:p>
              <a:pPr algn="ctr"/>
              <a:endParaRPr lang="zh-CN" altLang="en-US" sz="2400" baseline="0">
                <a:ea typeface="微软雅黑" panose="020B0503020204020204" pitchFamily="34" charset="-122"/>
              </a:endParaRPr>
            </a:p>
          </p:txBody>
        </p:sp>
      </p:grpSp>
      <p:sp>
        <p:nvSpPr>
          <p:cNvPr id="12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4127499" y="2461971"/>
            <a:ext cx="8064500" cy="1927135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2665" b="1" baseline="0">
                <a:solidFill>
                  <a:schemeClr val="bg1"/>
                </a:solidFill>
                <a:latin typeface="Audi Type Extended" panose="020B0505040200000003" pitchFamily="34" charset="0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 smtClean="0"/>
              <a:t>过渡页主文本 </a:t>
            </a:r>
            <a:r>
              <a:rPr lang="en-US" altLang="zh-CN" dirty="0" smtClean="0"/>
              <a:t>Transition</a:t>
            </a:r>
            <a:r>
              <a:rPr lang="zh-CN" altLang="en-US" dirty="0" smtClean="0"/>
              <a:t>，微软雅黑 </a:t>
            </a:r>
            <a:r>
              <a:rPr lang="en-US" altLang="zh-CN" dirty="0" smtClean="0"/>
              <a:t>Audi Type Extended, 20</a:t>
            </a:r>
            <a:endParaRPr lang="zh-CN" altLang="en-US" dirty="0" smtClean="0"/>
          </a:p>
        </p:txBody>
      </p:sp>
      <p:sp>
        <p:nvSpPr>
          <p:cNvPr id="14" name="文本占位符 13"/>
          <p:cNvSpPr>
            <a:spLocks noGrp="1"/>
          </p:cNvSpPr>
          <p:nvPr>
            <p:ph type="body" sz="quarter" idx="11" hasCustomPrompt="1"/>
          </p:nvPr>
        </p:nvSpPr>
        <p:spPr>
          <a:xfrm>
            <a:off x="1775520" y="1405853"/>
            <a:ext cx="1152128" cy="2023147"/>
          </a:xfrm>
          <a:prstGeom prst="rect">
            <a:avLst/>
          </a:prstGeom>
        </p:spPr>
        <p:txBody>
          <a:bodyPr/>
          <a:lstStyle>
            <a:lvl1pPr algn="ctr">
              <a:defRPr sz="15335" baseline="0">
                <a:solidFill>
                  <a:schemeClr val="bg1"/>
                </a:solidFill>
                <a:latin typeface="Audi Type Extended" panose="020B0505040200000003" pitchFamily="34" charset="0"/>
                <a:ea typeface="微软雅黑" panose="020B0503020204020204" pitchFamily="34" charset="-122"/>
              </a:defRPr>
            </a:lvl1pPr>
          </a:lstStyle>
          <a:p>
            <a:pPr lvl="0"/>
            <a:r>
              <a:rPr lang="en-US" altLang="zh-CN" dirty="0" smtClean="0"/>
              <a:t>1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ea typeface="华康金刚黑" panose="020B0400000000000000" pitchFamily="34" charset="-122"/>
              </a:defRPr>
            </a:lvl1pPr>
          </a:lstStyle>
          <a:p>
            <a:r>
              <a:rPr lang="zh-CN" altLang="en-US" noProof="0" dirty="0"/>
              <a:t>标题</a:t>
            </a:r>
            <a:r>
              <a:rPr lang="en-US" altLang="zh-CN" noProof="0" dirty="0"/>
              <a:t> (1 </a:t>
            </a:r>
            <a:r>
              <a:rPr lang="zh-CN" altLang="en-US" noProof="0" dirty="0"/>
              <a:t>或</a:t>
            </a:r>
            <a:r>
              <a:rPr lang="en-US" altLang="zh-CN" noProof="0" dirty="0"/>
              <a:t> 2 </a:t>
            </a:r>
            <a:r>
              <a:rPr lang="zh-CN" altLang="en-US" noProof="0" dirty="0"/>
              <a:t>行</a:t>
            </a:r>
            <a:r>
              <a:rPr lang="en-US" altLang="zh-CN" noProof="0" dirty="0"/>
              <a:t>)</a:t>
            </a:r>
            <a:endParaRPr lang="en-US" noProof="0" dirty="0"/>
          </a:p>
        </p:txBody>
      </p:sp>
    </p:spTree>
  </p:cSld>
  <p:clrMapOvr>
    <a:masterClrMapping/>
  </p:clrMapOvr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结束页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883840" y="2958075"/>
            <a:ext cx="10972800" cy="11430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665" b="1" baseline="0">
                <a:solidFill>
                  <a:schemeClr val="bg2"/>
                </a:solidFill>
                <a:latin typeface="Audi Type Extended" panose="020B0505040200000003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 smtClean="0"/>
              <a:t>结束语 </a:t>
            </a:r>
            <a:r>
              <a:rPr lang="en-US" altLang="zh-CN" dirty="0" smtClean="0"/>
              <a:t>Ending</a:t>
            </a:r>
            <a:r>
              <a:rPr lang="zh-CN" altLang="en-US" dirty="0" smtClean="0"/>
              <a:t>，</a:t>
            </a:r>
            <a:br>
              <a:rPr lang="en-US" altLang="zh-CN" dirty="0" smtClean="0"/>
            </a:br>
            <a:r>
              <a:rPr lang="zh-CN" altLang="en-US" dirty="0" smtClean="0"/>
              <a:t>微软雅黑 </a:t>
            </a:r>
            <a:r>
              <a:rPr lang="en-US" altLang="zh-CN" dirty="0" smtClean="0"/>
              <a:t>Audi Type Extended, 20</a:t>
            </a:r>
            <a:endParaRPr lang="zh-CN" altLang="en-US" dirty="0"/>
          </a:p>
        </p:txBody>
      </p:sp>
      <p:sp>
        <p:nvSpPr>
          <p:cNvPr id="6" name="矩形 5"/>
          <p:cNvSpPr/>
          <p:nvPr userDrawn="1"/>
        </p:nvSpPr>
        <p:spPr>
          <a:xfrm>
            <a:off x="96011" y="5949280"/>
            <a:ext cx="3215680" cy="79208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/>
          </a:p>
        </p:txBody>
      </p:sp>
      <p:sp>
        <p:nvSpPr>
          <p:cNvPr id="7" name="矩形 6"/>
          <p:cNvSpPr/>
          <p:nvPr userDrawn="1"/>
        </p:nvSpPr>
        <p:spPr>
          <a:xfrm>
            <a:off x="8688288" y="5949280"/>
            <a:ext cx="2976331" cy="79208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911425" y="1806543"/>
            <a:ext cx="2747433" cy="950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slid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noProof="0">
              <a:latin typeface="Audi Type Extended" panose="020B0505040200000003" pitchFamily="34" charset="0"/>
              <a:ea typeface="华康金刚黑" panose="020B0400000000000000" pitchFamily="34" charset="-122"/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286245"/>
            <a:ext cx="11341099" cy="734426"/>
          </a:xfrm>
        </p:spPr>
        <p:txBody>
          <a:bodyPr anchor="t" anchorCtr="0"/>
          <a:lstStyle>
            <a:lvl1pPr>
              <a:lnSpc>
                <a:spcPct val="100000"/>
              </a:lnSpc>
              <a:defRPr sz="2800" b="1" i="0" baseline="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noProof="0" dirty="0"/>
              <a:t>幻灯片标题</a:t>
            </a:r>
            <a:br>
              <a:rPr lang="en-US" noProof="0" dirty="0"/>
            </a:br>
            <a:r>
              <a:rPr lang="en-US" noProof="0" dirty="0"/>
              <a:t>(</a:t>
            </a:r>
            <a:r>
              <a:rPr lang="zh-CN" altLang="en-US" noProof="0" dirty="0"/>
              <a:t>最多两行</a:t>
            </a:r>
            <a:r>
              <a:rPr lang="en-US" noProof="0" dirty="0"/>
              <a:t>)</a:t>
            </a:r>
            <a:endParaRPr lang="en-US" noProof="0" dirty="0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3545" y="2148840"/>
            <a:ext cx="3622589" cy="884586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lid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bg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kumimoji="1" lang="zh-CN" altLang="en-US" sz="1400" b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5" y="4971370"/>
            <a:ext cx="10798683" cy="878821"/>
          </a:xfrm>
        </p:spPr>
        <p:txBody>
          <a:bodyPr anchor="t" anchorCtr="0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noProof="0" dirty="0"/>
              <a:t>幻灯片标题</a:t>
            </a:r>
            <a:br>
              <a:rPr lang="en-US" altLang="zh-CN" noProof="0" dirty="0"/>
            </a:br>
            <a:r>
              <a:rPr lang="en-US" altLang="zh-CN" noProof="0" dirty="0"/>
              <a:t>(</a:t>
            </a:r>
            <a:r>
              <a:rPr lang="zh-CN" altLang="en-US" noProof="0" dirty="0"/>
              <a:t>最多两行</a:t>
            </a:r>
            <a:r>
              <a:rPr lang="en-US" altLang="zh-CN" noProof="0" dirty="0"/>
              <a:t>)</a:t>
            </a:r>
            <a:endParaRPr lang="en-US" noProof="0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0"/>
            <a:ext cx="12192000" cy="3429000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900000" anchor="ctr" anchorCtr="0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baseline="0">
                <a:latin typeface="Audi Type Extended" panose="020B0505040200000003" pitchFamily="34" charset="0"/>
                <a:ea typeface="华康金刚黑" panose="020B0400000000000000" pitchFamily="34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/>
            </a:pPr>
            <a:r>
              <a:rPr lang="zh-CN" altLang="en-US" b="0" i="0" dirty="0">
                <a:solidFill>
                  <a:srgbClr val="252525"/>
                </a:solidFill>
                <a:effectLst/>
                <a:latin typeface="Roboto" panose="02000000000000000000"/>
              </a:rPr>
              <a:t>将图像拖动到此处或单击图标</a:t>
            </a:r>
            <a:endParaRPr lang="en-GB" altLang="zh-CN" noProof="0" dirty="0"/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5325" y="3921217"/>
            <a:ext cx="3096000" cy="756000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image + content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85060" y="13402"/>
            <a:ext cx="8128000" cy="6858000"/>
          </a:xfrm>
          <a:prstGeom prst="rect">
            <a:avLst/>
          </a:prstGeom>
          <a:solidFill>
            <a:schemeClr val="bg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kumimoji="1" lang="zh-CN" altLang="en-US" sz="1400" b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8128000" y="0"/>
            <a:ext cx="4064000" cy="685799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baseline="0">
                <a:ea typeface="华康金刚黑" panose="020B0400000000000000" pitchFamily="34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/>
            </a:pPr>
            <a:r>
              <a:rPr lang="zh-CN" altLang="en-US" b="0" i="0" dirty="0">
                <a:solidFill>
                  <a:srgbClr val="252525"/>
                </a:solidFill>
                <a:effectLst/>
                <a:latin typeface="Roboto" panose="02000000000000000000"/>
              </a:rPr>
              <a:t>将图像拖动到此处或单击图标</a:t>
            </a:r>
            <a:endParaRPr lang="en-GB" altLang="zh-CN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95324" y="300396"/>
            <a:ext cx="7231247" cy="537804"/>
          </a:xfrm>
        </p:spPr>
        <p:txBody>
          <a:bodyPr/>
          <a:lstStyle>
            <a:lvl1pPr>
              <a:defRPr baseline="0">
                <a:ea typeface="华康金刚黑" panose="020B0400000000000000" pitchFamily="34" charset="-122"/>
              </a:defRPr>
            </a:lvl1pPr>
          </a:lstStyle>
          <a:p>
            <a:r>
              <a:rPr lang="zh-CN" altLang="en-US" noProof="0" dirty="0"/>
              <a:t>标题</a:t>
            </a:r>
            <a:r>
              <a:rPr lang="en-US" altLang="zh-CN" noProof="0" dirty="0"/>
              <a:t> (1 </a:t>
            </a:r>
            <a:r>
              <a:rPr lang="zh-CN" altLang="en-US" noProof="0" dirty="0"/>
              <a:t>或</a:t>
            </a:r>
            <a:r>
              <a:rPr lang="en-US" altLang="zh-CN" noProof="0" dirty="0"/>
              <a:t> 2 </a:t>
            </a:r>
            <a:r>
              <a:rPr lang="zh-CN" altLang="en-US" noProof="0" dirty="0"/>
              <a:t>行</a:t>
            </a:r>
            <a:r>
              <a:rPr lang="en-US" altLang="zh-CN" noProof="0" dirty="0"/>
              <a:t>)</a:t>
            </a:r>
            <a:endParaRPr lang="en-US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3" y="1089025"/>
            <a:ext cx="7231247" cy="5055743"/>
          </a:xfrm>
        </p:spPr>
        <p:txBody>
          <a:bodyPr/>
          <a:lstStyle>
            <a:lvl1pPr>
              <a:defRPr b="0" i="0" baseline="0">
                <a:latin typeface="Audi Type Bold" panose="020B0503040200000003" pitchFamily="34" charset="0"/>
                <a:ea typeface="华康金刚黑" panose="020B0400000000000000" pitchFamily="34" charset="-122"/>
                <a:cs typeface="Audi Type Bold" panose="020B0503040200000003" pitchFamily="34" charset="0"/>
              </a:defRPr>
            </a:lvl1pPr>
            <a:lvl2pPr>
              <a:buSzPct val="125000"/>
              <a:defRPr b="0" i="0" baseline="0">
                <a:latin typeface="Audi Type Bold" panose="020B0503040200000003" pitchFamily="34" charset="0"/>
                <a:ea typeface="华康金刚黑" panose="020B0400000000000000" pitchFamily="34" charset="-122"/>
                <a:cs typeface="Audi Type Bold" panose="020B0503040200000003" pitchFamily="34" charset="0"/>
              </a:defRPr>
            </a:lvl2pPr>
            <a:lvl3pPr>
              <a:buSzPct val="125000"/>
              <a:defRPr b="0" i="0" baseline="0">
                <a:latin typeface="Audi Type Bold" panose="020B0503040200000003" pitchFamily="34" charset="0"/>
                <a:ea typeface="华康金刚黑" panose="020B0400000000000000" pitchFamily="34" charset="-122"/>
                <a:cs typeface="Audi Type Bold" panose="020B0503040200000003" pitchFamily="34" charset="0"/>
              </a:defRPr>
            </a:lvl3pPr>
            <a:lvl4pPr>
              <a:buSzPct val="125000"/>
              <a:defRPr b="0" i="0" baseline="0">
                <a:latin typeface="Audi Type Bold" panose="020B0503040200000003" pitchFamily="34" charset="0"/>
                <a:ea typeface="华康金刚黑" panose="020B0400000000000000" pitchFamily="34" charset="-122"/>
                <a:cs typeface="Audi Type Bold" panose="020B0503040200000003" pitchFamily="34" charset="0"/>
              </a:defRPr>
            </a:lvl4pPr>
            <a:lvl5pPr>
              <a:buSzPct val="125000"/>
              <a:defRPr b="0" i="0" baseline="0">
                <a:latin typeface="Audi Type Bold" panose="020B0503040200000003" pitchFamily="34" charset="0"/>
                <a:ea typeface="华康金刚黑" panose="020B0400000000000000" pitchFamily="34" charset="-122"/>
                <a:cs typeface="Audi Type Bold" panose="020B0503040200000003" pitchFamily="34" charset="0"/>
              </a:defRPr>
            </a:lvl5pPr>
          </a:lstStyle>
          <a:p>
            <a:pPr lvl="0"/>
            <a:r>
              <a:rPr lang="zh-CN" altLang="en-US" noProof="0" dirty="0"/>
              <a:t>编辑文本主格式</a:t>
            </a:r>
            <a:endParaRPr lang="en-US" altLang="zh-CN" noProof="0" dirty="0"/>
          </a:p>
          <a:p>
            <a:pPr lvl="1"/>
            <a:r>
              <a:rPr lang="zh-CN" altLang="en-US" noProof="0" dirty="0"/>
              <a:t>第二层级</a:t>
            </a:r>
            <a:endParaRPr lang="en-US" altLang="zh-CN" noProof="0" dirty="0"/>
          </a:p>
          <a:p>
            <a:pPr lvl="2"/>
            <a:r>
              <a:rPr lang="zh-CN" altLang="en-US" noProof="0" dirty="0"/>
              <a:t>第三层级</a:t>
            </a:r>
            <a:endParaRPr lang="en-US" altLang="zh-CN" noProof="0" dirty="0"/>
          </a:p>
          <a:p>
            <a:pPr lvl="3"/>
            <a:r>
              <a:rPr lang="zh-CN" altLang="en-US" noProof="0" dirty="0"/>
              <a:t>第四层级</a:t>
            </a:r>
            <a:endParaRPr lang="en-US" altLang="zh-CN" noProof="0" dirty="0"/>
          </a:p>
          <a:p>
            <a:pPr lvl="4"/>
            <a:r>
              <a:rPr lang="zh-CN" altLang="en-US" noProof="0" dirty="0"/>
              <a:t>第五层级</a:t>
            </a:r>
            <a:endParaRPr lang="en-US" altLang="zh-CN" noProof="0" dirty="0"/>
          </a:p>
        </p:txBody>
      </p:sp>
      <p:pic>
        <p:nvPicPr>
          <p:cNvPr id="16" name="图片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5325" y="6282210"/>
            <a:ext cx="585015" cy="326146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23875" y="6350408"/>
            <a:ext cx="540000" cy="10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image + content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0" y="1089025"/>
            <a:ext cx="8128000" cy="5768975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baseline="0">
                <a:latin typeface="Audi Type Extended" panose="020B0505040200000003" pitchFamily="34" charset="0"/>
                <a:ea typeface="华康金刚黑" panose="020B0400000000000000" pitchFamily="34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/>
            </a:pPr>
            <a:r>
              <a:rPr lang="zh-CN" altLang="en-US" b="0" i="0" dirty="0">
                <a:solidFill>
                  <a:srgbClr val="252525"/>
                </a:solidFill>
                <a:effectLst/>
                <a:latin typeface="Roboto" panose="02000000000000000000"/>
              </a:rPr>
              <a:t>将图像拖动到此处或单击图标</a:t>
            </a:r>
            <a:endParaRPr lang="en-GB" altLang="zh-CN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Audi Type Extended" panose="020B0505040200000003" pitchFamily="34" charset="0"/>
                <a:ea typeface="华康金刚黑" panose="020B0400000000000000" pitchFamily="34" charset="-122"/>
              </a:defRPr>
            </a:lvl1pPr>
          </a:lstStyle>
          <a:p>
            <a:r>
              <a:rPr lang="zh-CN" altLang="en-US" noProof="0" dirty="0"/>
              <a:t>标题</a:t>
            </a:r>
            <a:r>
              <a:rPr lang="en-US" altLang="zh-CN" noProof="0" dirty="0"/>
              <a:t> (1 </a:t>
            </a:r>
            <a:r>
              <a:rPr lang="zh-CN" altLang="en-US" noProof="0" dirty="0"/>
              <a:t>或</a:t>
            </a:r>
            <a:r>
              <a:rPr lang="en-US" altLang="zh-CN" noProof="0" dirty="0"/>
              <a:t> 2 </a:t>
            </a:r>
            <a:r>
              <a:rPr lang="zh-CN" altLang="en-US" noProof="0" dirty="0"/>
              <a:t>行</a:t>
            </a:r>
            <a:r>
              <a:rPr lang="en-US" altLang="zh-CN" noProof="0" dirty="0"/>
              <a:t>)</a:t>
            </a:r>
            <a:endParaRPr lang="en-US" noProof="0" dirty="0"/>
          </a:p>
        </p:txBody>
      </p:sp>
      <p:sp>
        <p:nvSpPr>
          <p:cNvPr id="6" name="Rechteck 5"/>
          <p:cNvSpPr/>
          <p:nvPr userDrawn="1"/>
        </p:nvSpPr>
        <p:spPr>
          <a:xfrm>
            <a:off x="8128000" y="1089026"/>
            <a:ext cx="4064000" cy="5768974"/>
          </a:xfrm>
          <a:prstGeom prst="rect">
            <a:avLst/>
          </a:prstGeom>
          <a:solidFill>
            <a:schemeClr val="accent5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en-US" sz="1400" b="1" baseline="0" noProof="0">
              <a:solidFill>
                <a:schemeClr val="tx1"/>
              </a:solidFill>
              <a:latin typeface="Audi Type Extended" panose="020B0505040200000003" pitchFamily="34" charset="0"/>
              <a:ea typeface="华康金刚黑" panose="020B0400000000000000" pitchFamily="34" charset="-122"/>
            </a:endParaRPr>
          </a:p>
        </p:txBody>
      </p:sp>
      <p:sp>
        <p:nvSpPr>
          <p:cNvPr id="7" name="Textplatzhalt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8328248" y="1260764"/>
            <a:ext cx="3708177" cy="5444836"/>
          </a:xfrm>
        </p:spPr>
        <p:txBody>
          <a:bodyPr/>
          <a:lstStyle>
            <a:lvl1pPr>
              <a:buClr>
                <a:schemeClr val="bg1"/>
              </a:buClr>
              <a:defRPr baseline="0">
                <a:solidFill>
                  <a:schemeClr val="bg1"/>
                </a:solidFill>
                <a:latin typeface="Audi Type Extended" panose="020B0505040200000003" pitchFamily="34" charset="0"/>
                <a:ea typeface="华康金刚黑" panose="020B0400000000000000" pitchFamily="34" charset="-122"/>
              </a:defRPr>
            </a:lvl1pPr>
            <a:lvl2pPr>
              <a:buClr>
                <a:schemeClr val="bg1"/>
              </a:buClr>
              <a:buSzPct val="125000"/>
              <a:defRPr baseline="0">
                <a:solidFill>
                  <a:schemeClr val="bg1"/>
                </a:solidFill>
                <a:latin typeface="Audi Type Extended" panose="020B0505040200000003" pitchFamily="34" charset="0"/>
                <a:ea typeface="华康金刚黑" panose="020B0400000000000000" pitchFamily="34" charset="-122"/>
              </a:defRPr>
            </a:lvl2pPr>
            <a:lvl3pPr>
              <a:buClr>
                <a:schemeClr val="bg1"/>
              </a:buClr>
              <a:buSzPct val="125000"/>
              <a:defRPr baseline="0">
                <a:solidFill>
                  <a:schemeClr val="bg1"/>
                </a:solidFill>
                <a:latin typeface="Audi Type Extended" panose="020B0505040200000003" pitchFamily="34" charset="0"/>
                <a:ea typeface="华康金刚黑" panose="020B0400000000000000" pitchFamily="34" charset="-122"/>
              </a:defRPr>
            </a:lvl3pPr>
            <a:lvl4pPr>
              <a:buClr>
                <a:schemeClr val="bg1"/>
              </a:buClr>
              <a:buSzPct val="125000"/>
              <a:defRPr baseline="0">
                <a:solidFill>
                  <a:schemeClr val="bg1"/>
                </a:solidFill>
                <a:latin typeface="Audi Type Extended" panose="020B0505040200000003" pitchFamily="34" charset="0"/>
                <a:ea typeface="华康金刚黑" panose="020B0400000000000000" pitchFamily="34" charset="-122"/>
              </a:defRPr>
            </a:lvl4pPr>
            <a:lvl5pPr>
              <a:buClr>
                <a:schemeClr val="bg1"/>
              </a:buClr>
              <a:buSzPct val="125000"/>
              <a:defRPr baseline="0">
                <a:solidFill>
                  <a:schemeClr val="bg1"/>
                </a:solidFill>
                <a:latin typeface="Audi Type Extended" panose="020B0505040200000003" pitchFamily="34" charset="0"/>
                <a:ea typeface="华康金刚黑" panose="020B0400000000000000" pitchFamily="34" charset="-122"/>
              </a:defRPr>
            </a:lvl5pPr>
          </a:lstStyle>
          <a:p>
            <a:pPr lvl="0"/>
            <a:r>
              <a:rPr lang="zh-CN" altLang="en-US" noProof="0" dirty="0"/>
              <a:t>编辑文本主格式</a:t>
            </a:r>
            <a:endParaRPr lang="en-US" altLang="zh-CN" noProof="0" dirty="0"/>
          </a:p>
          <a:p>
            <a:pPr lvl="1"/>
            <a:r>
              <a:rPr lang="zh-CN" altLang="en-US" noProof="0" dirty="0"/>
              <a:t>第二层级</a:t>
            </a:r>
            <a:endParaRPr lang="en-US" altLang="zh-CN" noProof="0" dirty="0"/>
          </a:p>
          <a:p>
            <a:pPr lvl="2"/>
            <a:r>
              <a:rPr lang="zh-CN" altLang="en-US" noProof="0" dirty="0"/>
              <a:t>第三层级</a:t>
            </a:r>
            <a:endParaRPr lang="en-US" altLang="zh-CN" noProof="0" dirty="0"/>
          </a:p>
          <a:p>
            <a:pPr lvl="3"/>
            <a:r>
              <a:rPr lang="zh-CN" altLang="en-US" noProof="0" dirty="0"/>
              <a:t>第四层级</a:t>
            </a:r>
            <a:endParaRPr lang="en-US" altLang="zh-CN" noProof="0" dirty="0"/>
          </a:p>
          <a:p>
            <a:pPr lvl="4"/>
            <a:r>
              <a:rPr lang="zh-CN" altLang="en-US" noProof="0" dirty="0"/>
              <a:t>第五层级</a:t>
            </a:r>
            <a:endParaRPr lang="en-US" altLang="zh-CN" noProof="0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image + content (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0" y="1089025"/>
            <a:ext cx="8128000" cy="5768975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baseline="0">
                <a:latin typeface="Audi Type Extended" panose="020B0505040200000003" pitchFamily="34" charset="0"/>
                <a:ea typeface="华康金刚黑" panose="020B0400000000000000" pitchFamily="34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/>
            </a:pPr>
            <a:r>
              <a:rPr lang="zh-CN" altLang="en-US" b="0" i="0" dirty="0">
                <a:solidFill>
                  <a:srgbClr val="252525"/>
                </a:solidFill>
                <a:effectLst/>
                <a:latin typeface="Roboto" panose="02000000000000000000"/>
              </a:rPr>
              <a:t>将图像拖动到此处或单击图标</a:t>
            </a:r>
            <a:endParaRPr lang="en-GB" altLang="zh-CN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Audi Type Extended" panose="020B0505040200000003" pitchFamily="34" charset="0"/>
                <a:ea typeface="华康金刚黑" panose="020B0400000000000000" pitchFamily="34" charset="-122"/>
              </a:defRPr>
            </a:lvl1pPr>
          </a:lstStyle>
          <a:p>
            <a:r>
              <a:rPr lang="zh-CN" altLang="en-US" noProof="0" dirty="0"/>
              <a:t>标题</a:t>
            </a:r>
            <a:r>
              <a:rPr lang="en-US" altLang="zh-CN" noProof="0" dirty="0"/>
              <a:t> (1 </a:t>
            </a:r>
            <a:r>
              <a:rPr lang="zh-CN" altLang="en-US" noProof="0" dirty="0"/>
              <a:t>或</a:t>
            </a:r>
            <a:r>
              <a:rPr lang="en-US" altLang="zh-CN" noProof="0" dirty="0"/>
              <a:t> 2 </a:t>
            </a:r>
            <a:r>
              <a:rPr lang="zh-CN" altLang="en-US" noProof="0" dirty="0"/>
              <a:t>行</a:t>
            </a:r>
            <a:r>
              <a:rPr lang="en-US" altLang="zh-CN" noProof="0" dirty="0"/>
              <a:t>)</a:t>
            </a:r>
            <a:endParaRPr lang="en-GB" noProof="0" dirty="0"/>
          </a:p>
        </p:txBody>
      </p:sp>
      <p:sp>
        <p:nvSpPr>
          <p:cNvPr id="6" name="Rechteck 5"/>
          <p:cNvSpPr/>
          <p:nvPr userDrawn="1"/>
        </p:nvSpPr>
        <p:spPr>
          <a:xfrm>
            <a:off x="8128000" y="1089026"/>
            <a:ext cx="4064000" cy="5768974"/>
          </a:xfrm>
          <a:prstGeom prst="rect">
            <a:avLst/>
          </a:prstGeom>
          <a:solidFill>
            <a:schemeClr val="accent6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en-GB" sz="1400" b="1" baseline="0" noProof="0">
              <a:solidFill>
                <a:schemeClr val="tx1"/>
              </a:solidFill>
              <a:latin typeface="Audi Type Extended" panose="020B0505040200000003" pitchFamily="34" charset="0"/>
              <a:ea typeface="华康金刚黑" panose="020B0400000000000000" pitchFamily="34" charset="-122"/>
            </a:endParaRPr>
          </a:p>
        </p:txBody>
      </p:sp>
      <p:sp>
        <p:nvSpPr>
          <p:cNvPr id="7" name="Textplatzhalt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8328248" y="1260764"/>
            <a:ext cx="3708177" cy="5444836"/>
          </a:xfrm>
        </p:spPr>
        <p:txBody>
          <a:bodyPr/>
          <a:lstStyle>
            <a:lvl1pPr>
              <a:buClr>
                <a:schemeClr val="bg1"/>
              </a:buClr>
              <a:defRPr baseline="0">
                <a:solidFill>
                  <a:schemeClr val="bg1"/>
                </a:solidFill>
                <a:latin typeface="Audi Type Extended" panose="020B0505040200000003" pitchFamily="34" charset="0"/>
                <a:ea typeface="华康金刚黑" panose="020B0400000000000000" pitchFamily="34" charset="-122"/>
              </a:defRPr>
            </a:lvl1pPr>
            <a:lvl2pPr>
              <a:buClr>
                <a:schemeClr val="bg1"/>
              </a:buClr>
              <a:buSzPct val="125000"/>
              <a:defRPr baseline="0">
                <a:solidFill>
                  <a:schemeClr val="bg1"/>
                </a:solidFill>
                <a:latin typeface="Audi Type Extended" panose="020B0505040200000003" pitchFamily="34" charset="0"/>
                <a:ea typeface="华康金刚黑" panose="020B0400000000000000" pitchFamily="34" charset="-122"/>
              </a:defRPr>
            </a:lvl2pPr>
            <a:lvl3pPr>
              <a:buClr>
                <a:schemeClr val="bg1"/>
              </a:buClr>
              <a:buSzPct val="125000"/>
              <a:defRPr baseline="0">
                <a:solidFill>
                  <a:schemeClr val="bg1"/>
                </a:solidFill>
                <a:latin typeface="Audi Type Extended" panose="020B0505040200000003" pitchFamily="34" charset="0"/>
                <a:ea typeface="华康金刚黑" panose="020B0400000000000000" pitchFamily="34" charset="-122"/>
              </a:defRPr>
            </a:lvl3pPr>
            <a:lvl4pPr>
              <a:buClr>
                <a:schemeClr val="bg1"/>
              </a:buClr>
              <a:buSzPct val="125000"/>
              <a:defRPr baseline="0">
                <a:solidFill>
                  <a:schemeClr val="bg1"/>
                </a:solidFill>
                <a:latin typeface="Audi Type Extended" panose="020B0505040200000003" pitchFamily="34" charset="0"/>
                <a:ea typeface="华康金刚黑" panose="020B0400000000000000" pitchFamily="34" charset="-122"/>
              </a:defRPr>
            </a:lvl4pPr>
            <a:lvl5pPr>
              <a:buClr>
                <a:schemeClr val="bg1"/>
              </a:buClr>
              <a:buSzPct val="125000"/>
              <a:defRPr baseline="0">
                <a:solidFill>
                  <a:schemeClr val="bg1"/>
                </a:solidFill>
                <a:latin typeface="Audi Type Extended" panose="020B0505040200000003" pitchFamily="34" charset="0"/>
                <a:ea typeface="华康金刚黑" panose="020B0400000000000000" pitchFamily="34" charset="-122"/>
              </a:defRPr>
            </a:lvl5pPr>
          </a:lstStyle>
          <a:p>
            <a:pPr lvl="0"/>
            <a:r>
              <a:rPr lang="zh-CN" altLang="en-US" noProof="0" dirty="0"/>
              <a:t>编辑文本主格式</a:t>
            </a:r>
            <a:endParaRPr lang="en-US" altLang="zh-CN" noProof="0" dirty="0"/>
          </a:p>
          <a:p>
            <a:pPr lvl="1"/>
            <a:r>
              <a:rPr lang="zh-CN" altLang="en-US" noProof="0" dirty="0"/>
              <a:t>第二层级</a:t>
            </a:r>
            <a:endParaRPr lang="en-US" altLang="zh-CN" noProof="0" dirty="0"/>
          </a:p>
          <a:p>
            <a:pPr lvl="2"/>
            <a:r>
              <a:rPr lang="zh-CN" altLang="en-US" noProof="0" dirty="0"/>
              <a:t>第三层级</a:t>
            </a:r>
            <a:endParaRPr lang="en-US" altLang="zh-CN" noProof="0" dirty="0"/>
          </a:p>
          <a:p>
            <a:pPr lvl="3"/>
            <a:r>
              <a:rPr lang="zh-CN" altLang="en-US" noProof="0" dirty="0"/>
              <a:t>第四层级</a:t>
            </a:r>
            <a:endParaRPr lang="en-US" altLang="zh-CN" noProof="0" dirty="0"/>
          </a:p>
          <a:p>
            <a:pPr lvl="4"/>
            <a:r>
              <a:rPr lang="zh-CN" altLang="en-US" noProof="0" dirty="0"/>
              <a:t>第五层级</a:t>
            </a:r>
            <a:endParaRPr lang="en-US" altLang="zh-CN" noProof="0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752395" y="1076325"/>
            <a:ext cx="1265730" cy="806993"/>
          </a:xfrm>
          <a:ln w="9525">
            <a:noFill/>
          </a:ln>
        </p:spPr>
        <p:txBody>
          <a:bodyPr anchor="ctr"/>
          <a:lstStyle>
            <a:lvl1pPr>
              <a:defRPr sz="5000" b="0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 Extended" panose="020B0505040200000003" pitchFamily="34" charset="0"/>
              </a:defRPr>
            </a:lvl1pPr>
          </a:lstStyle>
          <a:p>
            <a:pPr lvl="0"/>
            <a:r>
              <a:rPr lang="en-US" noProof="0"/>
              <a:t>01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Audi Type Extended" panose="020B0505040200000003" pitchFamily="34" charset="0"/>
                <a:ea typeface="华康金刚黑" panose="020B0400000000000000" pitchFamily="34" charset="-122"/>
              </a:defRPr>
            </a:lvl1pPr>
          </a:lstStyle>
          <a:p>
            <a:r>
              <a:rPr lang="zh-CN" altLang="en-US" dirty="0"/>
              <a:t>内容目录</a:t>
            </a:r>
            <a:endParaRPr lang="en-US" noProof="0" dirty="0"/>
          </a:p>
        </p:txBody>
      </p:sp>
      <p:sp>
        <p:nvSpPr>
          <p:cNvPr id="34" name="Textplatzhalt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1752395" y="2121443"/>
            <a:ext cx="1265730" cy="806993"/>
          </a:xfrm>
        </p:spPr>
        <p:txBody>
          <a:bodyPr anchor="ctr"/>
          <a:lstStyle>
            <a:lvl1pPr>
              <a:defRPr sz="5000" b="0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 Extended" panose="020B0505040200000003" pitchFamily="34" charset="0"/>
              </a:defRPr>
            </a:lvl1pPr>
          </a:lstStyle>
          <a:p>
            <a:pPr lvl="0"/>
            <a:r>
              <a:rPr lang="en-US" noProof="0"/>
              <a:t>02</a:t>
            </a:r>
            <a:endParaRPr lang="en-US" noProof="0"/>
          </a:p>
        </p:txBody>
      </p:sp>
      <p:sp>
        <p:nvSpPr>
          <p:cNvPr id="37" name="Textplatzhalt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1752395" y="3166561"/>
            <a:ext cx="1265730" cy="806993"/>
          </a:xfrm>
        </p:spPr>
        <p:txBody>
          <a:bodyPr anchor="ctr"/>
          <a:lstStyle>
            <a:lvl1pPr>
              <a:defRPr sz="5000" b="0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 Extended" panose="020B0505040200000003" pitchFamily="34" charset="0"/>
              </a:defRPr>
            </a:lvl1pPr>
          </a:lstStyle>
          <a:p>
            <a:pPr lvl="0"/>
            <a:r>
              <a:rPr lang="en-US" noProof="0"/>
              <a:t>03</a:t>
            </a:r>
            <a:endParaRPr lang="en-US" noProof="0"/>
          </a:p>
        </p:txBody>
      </p:sp>
      <p:sp>
        <p:nvSpPr>
          <p:cNvPr id="40" name="Textplatzhalter 19"/>
          <p:cNvSpPr>
            <a:spLocks noGrp="1"/>
          </p:cNvSpPr>
          <p:nvPr>
            <p:ph type="body" sz="quarter" idx="20" hasCustomPrompt="1"/>
          </p:nvPr>
        </p:nvSpPr>
        <p:spPr>
          <a:xfrm>
            <a:off x="1752395" y="4219054"/>
            <a:ext cx="1265730" cy="806993"/>
          </a:xfrm>
        </p:spPr>
        <p:txBody>
          <a:bodyPr anchor="ctr"/>
          <a:lstStyle>
            <a:lvl1pPr>
              <a:defRPr sz="5000" b="0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 Extended" panose="020B0505040200000003" pitchFamily="34" charset="0"/>
              </a:defRPr>
            </a:lvl1pPr>
          </a:lstStyle>
          <a:p>
            <a:pPr lvl="0"/>
            <a:r>
              <a:rPr lang="en-US" noProof="0"/>
              <a:t>04</a:t>
            </a:r>
            <a:endParaRPr lang="en-US" noProof="0"/>
          </a:p>
        </p:txBody>
      </p:sp>
      <p:sp>
        <p:nvSpPr>
          <p:cNvPr id="43" name="Textplatzhalter 19"/>
          <p:cNvSpPr>
            <a:spLocks noGrp="1"/>
          </p:cNvSpPr>
          <p:nvPr>
            <p:ph type="body" sz="quarter" idx="23" hasCustomPrompt="1"/>
          </p:nvPr>
        </p:nvSpPr>
        <p:spPr>
          <a:xfrm>
            <a:off x="1752395" y="5286303"/>
            <a:ext cx="1265730" cy="806993"/>
          </a:xfrm>
        </p:spPr>
        <p:txBody>
          <a:bodyPr anchor="ctr"/>
          <a:lstStyle>
            <a:lvl1pPr>
              <a:defRPr sz="5000" b="0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 Extended" panose="020B0505040200000003" pitchFamily="34" charset="0"/>
              </a:defRPr>
            </a:lvl1pPr>
          </a:lstStyle>
          <a:p>
            <a:pPr lvl="0"/>
            <a:r>
              <a:rPr lang="en-US" noProof="0"/>
              <a:t>05</a:t>
            </a:r>
            <a:endParaRPr lang="en-US" noProof="0"/>
          </a:p>
        </p:txBody>
      </p:sp>
      <p:sp>
        <p:nvSpPr>
          <p:cNvPr id="48" name="Textplatzhalt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3242907" y="1235487"/>
            <a:ext cx="6069011" cy="248022"/>
          </a:xfrm>
        </p:spPr>
        <p:txBody>
          <a:bodyPr lIns="72000" anchor="b"/>
          <a:lstStyle>
            <a:lvl1pPr>
              <a:defRPr sz="1800" b="1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 Extended" panose="020B0505040200000003" pitchFamily="34" charset="0"/>
              </a:defRPr>
            </a:lvl1pPr>
          </a:lstStyle>
          <a:p>
            <a:r>
              <a:rPr lang="zh-CN" altLang="en-US" dirty="0"/>
              <a:t>章节一标题</a:t>
            </a:r>
            <a:endParaRPr lang="en-GB" altLang="zh-CN" dirty="0"/>
          </a:p>
        </p:txBody>
      </p:sp>
      <p:sp>
        <p:nvSpPr>
          <p:cNvPr id="49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3242907" y="1521673"/>
            <a:ext cx="6069012" cy="361645"/>
          </a:xfrm>
        </p:spPr>
        <p:txBody>
          <a:bodyPr lIns="72000"/>
          <a:lstStyle>
            <a:lvl1pPr>
              <a:defRPr sz="1200" b="0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 Bold" panose="020B0503040200000003" pitchFamily="34" charset="0"/>
              </a:defRPr>
            </a:lvl1pPr>
          </a:lstStyle>
          <a:p>
            <a:r>
              <a:rPr lang="zh-CN" altLang="en-US" dirty="0"/>
              <a:t>副标题 和</a:t>
            </a:r>
            <a:r>
              <a:rPr lang="en-US" altLang="zh-CN" dirty="0"/>
              <a:t>/</a:t>
            </a:r>
            <a:r>
              <a:rPr lang="zh-CN" altLang="en-US" dirty="0"/>
              <a:t>或 本文描述</a:t>
            </a:r>
            <a:endParaRPr lang="en-GB" altLang="zh-CN" dirty="0"/>
          </a:p>
        </p:txBody>
      </p:sp>
      <p:sp>
        <p:nvSpPr>
          <p:cNvPr id="50" name="Textplatzhalter 21"/>
          <p:cNvSpPr>
            <a:spLocks noGrp="1"/>
          </p:cNvSpPr>
          <p:nvPr>
            <p:ph type="body" sz="quarter" idx="24" hasCustomPrompt="1"/>
          </p:nvPr>
        </p:nvSpPr>
        <p:spPr>
          <a:xfrm>
            <a:off x="3242907" y="2280605"/>
            <a:ext cx="6069011" cy="248022"/>
          </a:xfrm>
        </p:spPr>
        <p:txBody>
          <a:bodyPr lIns="72000" anchor="b"/>
          <a:lstStyle>
            <a:lvl1pPr>
              <a:defRPr sz="1800" b="1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 Extended" panose="020B0505040200000003" pitchFamily="34" charset="0"/>
              </a:defRPr>
            </a:lvl1pPr>
          </a:lstStyle>
          <a:p>
            <a:r>
              <a:rPr lang="zh-CN" altLang="en-US" dirty="0"/>
              <a:t>章节二标题</a:t>
            </a:r>
            <a:endParaRPr lang="en-GB" altLang="zh-CN" dirty="0"/>
          </a:p>
        </p:txBody>
      </p:sp>
      <p:sp>
        <p:nvSpPr>
          <p:cNvPr id="51" name="Textplatzhalter 24"/>
          <p:cNvSpPr>
            <a:spLocks noGrp="1"/>
          </p:cNvSpPr>
          <p:nvPr>
            <p:ph type="body" sz="quarter" idx="25" hasCustomPrompt="1"/>
          </p:nvPr>
        </p:nvSpPr>
        <p:spPr>
          <a:xfrm>
            <a:off x="3242907" y="2566791"/>
            <a:ext cx="6069012" cy="361645"/>
          </a:xfrm>
        </p:spPr>
        <p:txBody>
          <a:bodyPr lIns="7200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sz="1200" b="0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 Bold" panose="020B0503040200000003" pitchFamily="34" charset="0"/>
              </a:defRPr>
            </a:lvl1pPr>
          </a:lstStyle>
          <a:p>
            <a:r>
              <a:rPr lang="zh-CN" altLang="en-US" dirty="0"/>
              <a:t>副标题 和</a:t>
            </a:r>
            <a:r>
              <a:rPr lang="en-US" altLang="zh-CN" dirty="0"/>
              <a:t>/</a:t>
            </a:r>
            <a:r>
              <a:rPr lang="zh-CN" altLang="en-US" dirty="0"/>
              <a:t>或 本文描述</a:t>
            </a:r>
            <a:endParaRPr lang="en-GB" altLang="zh-CN" dirty="0"/>
          </a:p>
        </p:txBody>
      </p:sp>
      <p:sp>
        <p:nvSpPr>
          <p:cNvPr id="52" name="Textplatzhalter 21"/>
          <p:cNvSpPr>
            <a:spLocks noGrp="1"/>
          </p:cNvSpPr>
          <p:nvPr>
            <p:ph type="body" sz="quarter" idx="26" hasCustomPrompt="1"/>
          </p:nvPr>
        </p:nvSpPr>
        <p:spPr>
          <a:xfrm>
            <a:off x="3242907" y="3325723"/>
            <a:ext cx="6069011" cy="248022"/>
          </a:xfrm>
        </p:spPr>
        <p:txBody>
          <a:bodyPr lIns="72000" anchor="b"/>
          <a:lstStyle>
            <a:lvl1pPr>
              <a:defRPr sz="1800" b="1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 Extended" panose="020B0505040200000003" pitchFamily="34" charset="0"/>
              </a:defRPr>
            </a:lvl1pPr>
          </a:lstStyle>
          <a:p>
            <a:r>
              <a:rPr lang="zh-CN" altLang="en-US" dirty="0"/>
              <a:t>章节三标题</a:t>
            </a:r>
            <a:endParaRPr lang="en-GB" altLang="zh-CN" dirty="0"/>
          </a:p>
        </p:txBody>
      </p:sp>
      <p:sp>
        <p:nvSpPr>
          <p:cNvPr id="53" name="Textplatzhalter 24"/>
          <p:cNvSpPr>
            <a:spLocks noGrp="1"/>
          </p:cNvSpPr>
          <p:nvPr>
            <p:ph type="body" sz="quarter" idx="27" hasCustomPrompt="1"/>
          </p:nvPr>
        </p:nvSpPr>
        <p:spPr>
          <a:xfrm>
            <a:off x="3242907" y="3611909"/>
            <a:ext cx="6069012" cy="361645"/>
          </a:xfrm>
        </p:spPr>
        <p:txBody>
          <a:bodyPr lIns="72000"/>
          <a:lstStyle>
            <a:lvl1pPr>
              <a:defRPr sz="1200" b="0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 Bold" panose="020B0503040200000003" pitchFamily="34" charset="0"/>
              </a:defRPr>
            </a:lvl1pPr>
          </a:lstStyle>
          <a:p>
            <a:r>
              <a:rPr lang="zh-CN" altLang="en-US" dirty="0"/>
              <a:t>副标题 和</a:t>
            </a:r>
            <a:r>
              <a:rPr lang="en-US" altLang="zh-CN" dirty="0"/>
              <a:t>/</a:t>
            </a:r>
            <a:r>
              <a:rPr lang="zh-CN" altLang="en-US" dirty="0"/>
              <a:t>或 本文描述</a:t>
            </a:r>
            <a:endParaRPr lang="en-GB" altLang="zh-CN" dirty="0"/>
          </a:p>
        </p:txBody>
      </p:sp>
      <p:sp>
        <p:nvSpPr>
          <p:cNvPr id="54" name="Textplatzhalter 21"/>
          <p:cNvSpPr>
            <a:spLocks noGrp="1"/>
          </p:cNvSpPr>
          <p:nvPr>
            <p:ph type="body" sz="quarter" idx="28" hasCustomPrompt="1"/>
          </p:nvPr>
        </p:nvSpPr>
        <p:spPr>
          <a:xfrm>
            <a:off x="3242907" y="4378216"/>
            <a:ext cx="6069011" cy="248022"/>
          </a:xfrm>
        </p:spPr>
        <p:txBody>
          <a:bodyPr lIns="72000" anchor="b"/>
          <a:lstStyle>
            <a:lvl1pPr>
              <a:defRPr sz="1800" b="1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 Extended" panose="020B0505040200000003" pitchFamily="34" charset="0"/>
              </a:defRPr>
            </a:lvl1pPr>
          </a:lstStyle>
          <a:p>
            <a:r>
              <a:rPr lang="zh-CN" altLang="en-US" dirty="0"/>
              <a:t>章节四标题</a:t>
            </a:r>
            <a:endParaRPr lang="en-GB" altLang="zh-CN" dirty="0"/>
          </a:p>
        </p:txBody>
      </p:sp>
      <p:sp>
        <p:nvSpPr>
          <p:cNvPr id="55" name="Textplatzhalter 24"/>
          <p:cNvSpPr>
            <a:spLocks noGrp="1"/>
          </p:cNvSpPr>
          <p:nvPr>
            <p:ph type="body" sz="quarter" idx="29" hasCustomPrompt="1"/>
          </p:nvPr>
        </p:nvSpPr>
        <p:spPr>
          <a:xfrm>
            <a:off x="3242907" y="4664402"/>
            <a:ext cx="6069012" cy="361645"/>
          </a:xfrm>
        </p:spPr>
        <p:txBody>
          <a:bodyPr lIns="72000"/>
          <a:lstStyle>
            <a:lvl1pPr>
              <a:defRPr sz="1200" b="0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 Bold" panose="020B0503040200000003" pitchFamily="34" charset="0"/>
              </a:defRPr>
            </a:lvl1pPr>
          </a:lstStyle>
          <a:p>
            <a:r>
              <a:rPr lang="zh-CN" altLang="en-US" dirty="0"/>
              <a:t>副标题 和</a:t>
            </a:r>
            <a:r>
              <a:rPr lang="en-US" altLang="zh-CN" dirty="0"/>
              <a:t>/</a:t>
            </a:r>
            <a:r>
              <a:rPr lang="zh-CN" altLang="en-US" dirty="0"/>
              <a:t>或 本文描述</a:t>
            </a:r>
            <a:endParaRPr lang="en-GB" altLang="zh-CN" dirty="0"/>
          </a:p>
        </p:txBody>
      </p:sp>
      <p:sp>
        <p:nvSpPr>
          <p:cNvPr id="56" name="Textplatzhalter 21"/>
          <p:cNvSpPr>
            <a:spLocks noGrp="1"/>
          </p:cNvSpPr>
          <p:nvPr>
            <p:ph type="body" sz="quarter" idx="30" hasCustomPrompt="1"/>
          </p:nvPr>
        </p:nvSpPr>
        <p:spPr>
          <a:xfrm>
            <a:off x="3242907" y="5445465"/>
            <a:ext cx="6069011" cy="248022"/>
          </a:xfrm>
        </p:spPr>
        <p:txBody>
          <a:bodyPr lIns="72000" anchor="b"/>
          <a:lstStyle>
            <a:lvl1pPr>
              <a:defRPr sz="1800" b="1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 Extended" panose="020B0505040200000003" pitchFamily="34" charset="0"/>
              </a:defRPr>
            </a:lvl1pPr>
          </a:lstStyle>
          <a:p>
            <a:r>
              <a:rPr lang="zh-CN" altLang="en-US" dirty="0"/>
              <a:t>章节五标题</a:t>
            </a:r>
            <a:endParaRPr lang="en-GB" altLang="zh-CN" dirty="0"/>
          </a:p>
        </p:txBody>
      </p:sp>
      <p:sp>
        <p:nvSpPr>
          <p:cNvPr id="57" name="Textplatzhalter 24"/>
          <p:cNvSpPr>
            <a:spLocks noGrp="1"/>
          </p:cNvSpPr>
          <p:nvPr>
            <p:ph type="body" sz="quarter" idx="31" hasCustomPrompt="1"/>
          </p:nvPr>
        </p:nvSpPr>
        <p:spPr>
          <a:xfrm>
            <a:off x="3242907" y="5731651"/>
            <a:ext cx="6069012" cy="361645"/>
          </a:xfrm>
        </p:spPr>
        <p:txBody>
          <a:bodyPr lIns="72000"/>
          <a:lstStyle>
            <a:lvl1pPr>
              <a:defRPr sz="1200" b="0" i="0" baseline="0">
                <a:latin typeface="Audi Type Extended" panose="020B0505040200000003" pitchFamily="34" charset="0"/>
                <a:ea typeface="华康金刚黑" panose="020B0400000000000000" pitchFamily="34" charset="-122"/>
                <a:cs typeface="Audi Type Bold" panose="020B0503040200000003" pitchFamily="34" charset="0"/>
              </a:defRPr>
            </a:lvl1pPr>
          </a:lstStyle>
          <a:p>
            <a:r>
              <a:rPr lang="zh-CN" altLang="en-US" dirty="0"/>
              <a:t>副标题 和</a:t>
            </a:r>
            <a:r>
              <a:rPr lang="en-US" altLang="zh-CN" dirty="0"/>
              <a:t>/</a:t>
            </a:r>
            <a:r>
              <a:rPr lang="zh-CN" altLang="en-US" dirty="0"/>
              <a:t>或 本文描述</a:t>
            </a:r>
            <a:endParaRPr lang="en-GB" altLang="zh-CN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2" Type="http://schemas.openxmlformats.org/officeDocument/2006/relationships/theme" Target="../theme/theme1.xml"/><Relationship Id="rId21" Type="http://schemas.openxmlformats.org/officeDocument/2006/relationships/vmlDrawing" Target="../drawings/vmlDrawing1.vml"/><Relationship Id="rId20" Type="http://schemas.openxmlformats.org/officeDocument/2006/relationships/image" Target="../media/image6.emf"/><Relationship Id="rId2" Type="http://schemas.openxmlformats.org/officeDocument/2006/relationships/slideLayout" Target="../slideLayouts/slideLayout2.xml"/><Relationship Id="rId19" Type="http://schemas.openxmlformats.org/officeDocument/2006/relationships/image" Target="../media/image3.emf"/><Relationship Id="rId18" Type="http://schemas.openxmlformats.org/officeDocument/2006/relationships/tags" Target="../tags/tag3.xml"/><Relationship Id="rId17" Type="http://schemas.openxmlformats.org/officeDocument/2006/relationships/tags" Target="../tags/tag2.xml"/><Relationship Id="rId16" Type="http://schemas.openxmlformats.org/officeDocument/2006/relationships/image" Target="../media/image5.emf"/><Relationship Id="rId15" Type="http://schemas.openxmlformats.org/officeDocument/2006/relationships/oleObject" Target="../embeddings/oleObject1.bin"/><Relationship Id="rId14" Type="http://schemas.openxmlformats.org/officeDocument/2006/relationships/tags" Target="../tags/tag1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22.xml"/><Relationship Id="rId8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0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4" Type="http://schemas.openxmlformats.org/officeDocument/2006/relationships/theme" Target="../theme/theme2.xml"/><Relationship Id="rId13" Type="http://schemas.openxmlformats.org/officeDocument/2006/relationships/vmlDrawing" Target="../drawings/vmlDrawing3.vml"/><Relationship Id="rId12" Type="http://schemas.openxmlformats.org/officeDocument/2006/relationships/image" Target="../media/image10.png"/><Relationship Id="rId11" Type="http://schemas.openxmlformats.org/officeDocument/2006/relationships/image" Target="../media/image9.emf"/><Relationship Id="rId10" Type="http://schemas.openxmlformats.org/officeDocument/2006/relationships/oleObject" Target="../embeddings/oleObject3.bin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19" name="think-cell Slide" r:id="rId15" imgW="5715" imgH="5715" progId="TCLayout.ActiveDocument.1">
                  <p:embed/>
                </p:oleObj>
              </mc:Choice>
              <mc:Fallback>
                <p:oleObj name="think-cell Slide" r:id="rId15" imgW="5715" imgH="5715" progId="TCLayout.ActiveDocument.1">
                  <p:embed/>
                  <p:pic>
                    <p:nvPicPr>
                      <p:cNvPr id="0" name="图片 17862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en-US" sz="1800" b="0" i="0" baseline="0" dirty="0">
              <a:solidFill>
                <a:schemeClr val="tx1"/>
              </a:solidFill>
              <a:latin typeface="Audi Type Extended" panose="020B0505040200000003" pitchFamily="34" charset="0"/>
              <a:sym typeface="Audi Type Extended Normal" panose="020B0505040200000003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695324" y="300396"/>
            <a:ext cx="11341101" cy="5378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zh-CN" altLang="en-US" noProof="0" dirty="0"/>
              <a:t>标题</a:t>
            </a:r>
            <a:r>
              <a:rPr lang="en-US" altLang="zh-CN" noProof="0" dirty="0"/>
              <a:t> (1 </a:t>
            </a:r>
            <a:r>
              <a:rPr lang="zh-CN" altLang="en-US" noProof="0" dirty="0"/>
              <a:t>或</a:t>
            </a:r>
            <a:r>
              <a:rPr lang="en-US" altLang="zh-CN" noProof="0" dirty="0"/>
              <a:t> 2 </a:t>
            </a:r>
            <a:r>
              <a:rPr lang="zh-CN" altLang="en-US" noProof="0" dirty="0"/>
              <a:t>行</a:t>
            </a:r>
            <a:r>
              <a:rPr lang="en-US" altLang="zh-CN" noProof="0" dirty="0"/>
              <a:t>)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95322" y="1089024"/>
            <a:ext cx="11341101" cy="51550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noProof="0" dirty="0"/>
              <a:t>编辑文本主格式</a:t>
            </a:r>
            <a:endParaRPr lang="en-US" noProof="0" dirty="0"/>
          </a:p>
          <a:p>
            <a:pPr lvl="1"/>
            <a:r>
              <a:rPr lang="zh-CN" altLang="en-US" noProof="0" dirty="0"/>
              <a:t>第二层级</a:t>
            </a:r>
            <a:endParaRPr lang="en-US" noProof="0" dirty="0"/>
          </a:p>
          <a:p>
            <a:pPr lvl="2"/>
            <a:r>
              <a:rPr lang="zh-CN" altLang="en-US" noProof="0" dirty="0"/>
              <a:t>第三层级</a:t>
            </a:r>
            <a:endParaRPr lang="en-US" noProof="0" dirty="0"/>
          </a:p>
          <a:p>
            <a:pPr lvl="3"/>
            <a:r>
              <a:rPr lang="zh-CN" altLang="en-US" noProof="0" dirty="0"/>
              <a:t>第四层级</a:t>
            </a:r>
            <a:endParaRPr lang="en-US" noProof="0" dirty="0"/>
          </a:p>
          <a:p>
            <a:pPr lvl="4"/>
            <a:r>
              <a:rPr lang="zh-CN" altLang="en-US" noProof="0" dirty="0"/>
              <a:t>第五层级</a:t>
            </a:r>
            <a:endParaRPr lang="en-US" noProof="0" dirty="0"/>
          </a:p>
        </p:txBody>
      </p:sp>
      <p:sp>
        <p:nvSpPr>
          <p:cNvPr id="10" name="Rectangle 28"/>
          <p:cNvSpPr>
            <a:spLocks noChangeArrowheads="1"/>
          </p:cNvSpPr>
          <p:nvPr userDrawn="1"/>
        </p:nvSpPr>
        <p:spPr bwMode="gray">
          <a:xfrm>
            <a:off x="695324" y="70998"/>
            <a:ext cx="419869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US" sz="700" baseline="0" noProof="0" smtClean="0">
                <a:latin typeface="Audi Type Extended" panose="020B0505040200000003" pitchFamily="34" charset="0"/>
                <a:ea typeface="华康金刚黑" panose="020B0400000000000000" pitchFamily="34" charset="-122"/>
              </a:rPr>
            </a:fld>
            <a:endParaRPr lang="en-US" sz="800" baseline="0" noProof="0" dirty="0">
              <a:latin typeface="Audi Type Extended" panose="020B0505040200000003" pitchFamily="34" charset="0"/>
              <a:ea typeface="华康金刚黑" panose="020B0400000000000000" pitchFamily="34" charset="-122"/>
            </a:endParaRPr>
          </a:p>
        </p:txBody>
      </p:sp>
      <p:sp>
        <p:nvSpPr>
          <p:cNvPr id="6" name="Rectangle 5" hidden="1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en-US" sz="1800" b="0" i="0" baseline="0" dirty="0">
              <a:solidFill>
                <a:schemeClr val="tx1"/>
              </a:solidFill>
              <a:latin typeface="Audi Type Extended" panose="020B0505040200000003" pitchFamily="34" charset="0"/>
              <a:sym typeface="Audi Type Extended Normal" panose="020B0505040200000003" pitchFamily="34" charset="0"/>
            </a:endParaRPr>
          </a:p>
        </p:txBody>
      </p:sp>
      <p:pic>
        <p:nvPicPr>
          <p:cNvPr id="16" name="图片 15"/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695322" y="6282210"/>
            <a:ext cx="585015" cy="326146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11318169" y="6350408"/>
            <a:ext cx="540000" cy="108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sldNum="0" hdr="0" dt="0"/>
  <p:txStyles>
    <p:titleStyle>
      <a:lvl1pPr marL="0" marR="0" indent="0" algn="l" defTabSz="914400" rtl="0" eaLnBrk="1" fontAlgn="auto" latinLnBrk="0" hangingPunct="1">
        <a:lnSpc>
          <a:spcPct val="110000"/>
        </a:lnSpc>
        <a:spcBef>
          <a:spcPct val="0"/>
        </a:spcBef>
        <a:spcAft>
          <a:spcPts val="0"/>
        </a:spcAft>
        <a:buClrTx/>
        <a:buSzTx/>
        <a:buFontTx/>
        <a:buNone/>
        <a:defRPr sz="1800" b="0" i="0" kern="1200" baseline="0">
          <a:solidFill>
            <a:schemeClr val="tx1"/>
          </a:solidFill>
          <a:latin typeface="Audi Type Extended" panose="020B0505040200000003" pitchFamily="34" charset="0"/>
          <a:ea typeface="华康金刚黑" panose="020B0400000000000000" pitchFamily="34" charset="-122"/>
          <a:cs typeface="Audi Type Extended" panose="020B0505040200000003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buSzPct val="100000"/>
        <a:buFont typeface="Arial" panose="020B0604020202020204" pitchFamily="34" charset="0"/>
        <a:buNone/>
        <a:defRPr sz="1600" b="0" kern="1200" baseline="0">
          <a:solidFill>
            <a:schemeClr val="tx1"/>
          </a:solidFill>
          <a:latin typeface="Audi Type Extended" panose="020B0505040200000003" pitchFamily="34" charset="0"/>
          <a:ea typeface="华康金刚黑" panose="020B0400000000000000" pitchFamily="34" charset="-122"/>
          <a:cs typeface="+mn-cs"/>
        </a:defRPr>
      </a:lvl1pPr>
      <a:lvl2pPr marL="215900" indent="-215900" algn="l" defTabSz="914400" rtl="0" eaLnBrk="1" latinLnBrk="0" hangingPunct="1">
        <a:lnSpc>
          <a:spcPct val="110000"/>
        </a:lnSpc>
        <a:spcBef>
          <a:spcPts val="600"/>
        </a:spcBef>
        <a:buClr>
          <a:srgbClr val="CC0033"/>
        </a:buClr>
        <a:buSzPct val="150000"/>
        <a:buFont typeface="Audi Type" panose="020B0503040200000003" charset="0"/>
        <a:buChar char="›"/>
        <a:defRPr sz="1600" kern="1200" baseline="0">
          <a:solidFill>
            <a:schemeClr val="tx1"/>
          </a:solidFill>
          <a:latin typeface="Audi Type Extended" panose="020B0505040200000003" pitchFamily="34" charset="0"/>
          <a:ea typeface="华康金刚黑" panose="020B0400000000000000" pitchFamily="34" charset="-122"/>
          <a:cs typeface="+mn-cs"/>
        </a:defRPr>
      </a:lvl2pPr>
      <a:lvl3pPr marL="4318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50000"/>
        <a:buFont typeface="Audi Type" panose="020B0503040200000003" charset="0"/>
        <a:buChar char="›"/>
        <a:defRPr sz="1600" kern="1200" baseline="0">
          <a:solidFill>
            <a:schemeClr val="tx1"/>
          </a:solidFill>
          <a:latin typeface="Audi Type Extended" panose="020B0505040200000003" pitchFamily="34" charset="0"/>
          <a:ea typeface="华康金刚黑" panose="020B0400000000000000" pitchFamily="34" charset="-122"/>
          <a:cs typeface="+mn-cs"/>
        </a:defRPr>
      </a:lvl3pPr>
      <a:lvl4pPr marL="6477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accent3"/>
        </a:buClr>
        <a:buSzPct val="150000"/>
        <a:buFont typeface="Audi Type" panose="020B0503040200000003" charset="0"/>
        <a:buChar char="›"/>
        <a:defRPr sz="1600" kern="1200" baseline="0">
          <a:solidFill>
            <a:schemeClr val="tx1"/>
          </a:solidFill>
          <a:latin typeface="Audi Type Extended" panose="020B0505040200000003" pitchFamily="34" charset="0"/>
          <a:ea typeface="华康金刚黑" panose="020B0400000000000000" pitchFamily="34" charset="-122"/>
          <a:cs typeface="+mn-cs"/>
        </a:defRPr>
      </a:lvl4pPr>
      <a:lvl5pPr marL="864235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00000"/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Audi Type Extended" panose="020B0505040200000003" pitchFamily="34" charset="0"/>
          <a:ea typeface="华康金刚黑" panose="020B0400000000000000" pitchFamily="34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70" name="think-cell 幻灯片" r:id="rId10" imgW="5715" imgH="5715" progId="TCLayout.ActiveDocument.1">
                  <p:embed/>
                </p:oleObj>
              </mc:Choice>
              <mc:Fallback>
                <p:oleObj name="think-cell 幻灯片" r:id="rId10" imgW="5715" imgH="5715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 smtClean="0"/>
              <a:t>页面标题 </a:t>
            </a:r>
            <a:r>
              <a:rPr lang="en-US" altLang="zh-CN" dirty="0" smtClean="0"/>
              <a:t>Page Title</a:t>
            </a:r>
            <a:r>
              <a:rPr lang="zh-CN" altLang="en-US" dirty="0" smtClean="0"/>
              <a:t>，微软雅黑 </a:t>
            </a:r>
            <a:r>
              <a:rPr lang="en-US" altLang="zh-CN" dirty="0" smtClean="0"/>
              <a:t>Audi Type Extended</a:t>
            </a:r>
            <a:r>
              <a:rPr lang="zh-CN" altLang="en-US" dirty="0" smtClean="0"/>
              <a:t>，</a:t>
            </a:r>
            <a:r>
              <a:rPr lang="en-US" altLang="zh-CN" dirty="0" smtClean="0"/>
              <a:t>18</a:t>
            </a:r>
            <a:endParaRPr lang="zh-CN" altLang="en-US" dirty="0"/>
          </a:p>
        </p:txBody>
      </p:sp>
      <p:pic>
        <p:nvPicPr>
          <p:cNvPr id="40962" name="Picture 2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665692" y="6351223"/>
            <a:ext cx="10860617" cy="4381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Fußzeilenplatzhalter 3"/>
          <p:cNvSpPr txBox="1"/>
          <p:nvPr userDrawn="1"/>
        </p:nvSpPr>
        <p:spPr>
          <a:xfrm>
            <a:off x="-35704" y="68660"/>
            <a:ext cx="3251384" cy="1435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935" baseline="0" dirty="0" smtClean="0">
                <a:solidFill>
                  <a:schemeClr val="bg2"/>
                </a:solidFill>
                <a:latin typeface="Audi Type" panose="020B0503040200000003" charset="0"/>
                <a:ea typeface="微软雅黑" panose="020B0503020204020204" pitchFamily="34" charset="-122"/>
              </a:rPr>
              <a:t>奥迪汽车金融部 </a:t>
            </a:r>
            <a:r>
              <a:rPr lang="en-US" altLang="zh-CN" sz="935" baseline="0" dirty="0" smtClean="0">
                <a:solidFill>
                  <a:schemeClr val="bg2"/>
                </a:solidFill>
                <a:latin typeface="Audi Type Extended" panose="020B0505040200000003" pitchFamily="34" charset="0"/>
                <a:ea typeface="微软雅黑" panose="020B0503020204020204" pitchFamily="34" charset="-122"/>
              </a:rPr>
              <a:t>Auto Finance Audi</a:t>
            </a:r>
            <a:endParaRPr lang="en-GB" sz="935" baseline="0" dirty="0" smtClean="0">
              <a:solidFill>
                <a:schemeClr val="bg2"/>
              </a:solidFill>
              <a:latin typeface="Audi Type Extended" panose="020B0505040200000003" pitchFamily="34" charset="0"/>
              <a:ea typeface="微软雅黑" panose="020B0503020204020204" pitchFamily="34" charset="-122"/>
            </a:endParaRPr>
          </a:p>
        </p:txBody>
      </p:sp>
      <p:sp>
        <p:nvSpPr>
          <p:cNvPr id="5" name="TextBox 15"/>
          <p:cNvSpPr txBox="1"/>
          <p:nvPr userDrawn="1"/>
        </p:nvSpPr>
        <p:spPr>
          <a:xfrm>
            <a:off x="11614888" y="-27384"/>
            <a:ext cx="5297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EEF1883-7A0E-4F66-9932-E581691AD397}" type="slidenum">
              <a:rPr lang="zh-CN" altLang="en-US" sz="1600" b="0" smtClean="0">
                <a:solidFill>
                  <a:schemeClr val="accent1"/>
                </a:solidFill>
                <a:latin typeface="Audi Type" panose="020B0503040200000003" charset="0"/>
                <a:ea typeface="微软雅黑 Light" panose="020B0502040204020203" pitchFamily="34" charset="-122"/>
              </a:rPr>
            </a:fld>
            <a:r>
              <a:rPr lang="zh-CN" altLang="en-US" sz="2400" b="0" dirty="0" smtClean="0">
                <a:solidFill>
                  <a:schemeClr val="accent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 </a:t>
            </a:r>
            <a:endParaRPr lang="zh-CN" altLang="en-US" sz="2400" b="0" dirty="0">
              <a:solidFill>
                <a:schemeClr val="accent1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219200" rtl="0" eaLnBrk="1" latinLnBrk="0" hangingPunct="1">
        <a:lnSpc>
          <a:spcPct val="100000"/>
        </a:lnSpc>
        <a:spcBef>
          <a:spcPct val="0"/>
        </a:spcBef>
        <a:buNone/>
        <a:defRPr sz="2400" b="1" kern="1200" baseline="0">
          <a:solidFill>
            <a:schemeClr val="bg2"/>
          </a:solidFill>
          <a:latin typeface="Audi Type Extended" panose="020B0505040200000003"/>
          <a:ea typeface="微软雅黑" panose="020B0503020204020204" pitchFamily="34" charset="-122"/>
          <a:cs typeface="+mj-cs"/>
        </a:defRPr>
      </a:lvl1pPr>
    </p:titleStyle>
    <p:bodyStyle>
      <a:lvl1pPr marL="0" indent="0" algn="l" defTabSz="1219200" rtl="0" eaLnBrk="1" latinLnBrk="0" hangingPunct="1">
        <a:lnSpc>
          <a:spcPct val="150000"/>
        </a:lnSpc>
        <a:spcBef>
          <a:spcPts val="0"/>
        </a:spcBef>
        <a:buFont typeface="Arial" panose="020B0604020202020204" pitchFamily="34" charset="0"/>
        <a:buNone/>
        <a:defRPr sz="2400" kern="1200" baseline="0">
          <a:solidFill>
            <a:schemeClr val="tx1"/>
          </a:solidFill>
          <a:latin typeface="Audi Type" panose="020B0503040200000003"/>
          <a:ea typeface="微软雅黑" panose="020B0503020204020204" pitchFamily="34" charset="-122"/>
          <a:cs typeface="+mn-cs"/>
        </a:defRPr>
      </a:lvl1pPr>
      <a:lvl2pPr marL="609600" marR="0" indent="0" algn="l" defTabSz="1219200" rtl="0" eaLnBrk="1" fontAlgn="auto" latinLnBrk="0" hangingPunct="1">
        <a:lnSpc>
          <a:spcPct val="150000"/>
        </a:lnSpc>
        <a:spcBef>
          <a:spcPts val="0"/>
        </a:spcBef>
        <a:spcAft>
          <a:spcPts val="0"/>
        </a:spcAft>
        <a:buClrTx/>
        <a:buSzTx/>
        <a:buFont typeface="Wingdings" panose="05000000000000000000" pitchFamily="2" charset="2"/>
        <a:buChar char="Ø"/>
        <a:defRPr sz="2135" kern="1200">
          <a:solidFill>
            <a:schemeClr val="tx1"/>
          </a:solidFill>
          <a:latin typeface="Audi Type" panose="020B0503040200000003"/>
          <a:ea typeface="微软雅黑" panose="020B0503020204020204" pitchFamily="34" charset="-122"/>
          <a:cs typeface="+mn-cs"/>
        </a:defRPr>
      </a:lvl2pPr>
      <a:lvl3pPr marL="1600200" marR="0" indent="-381000" algn="l" defTabSz="1219200" rtl="0" eaLnBrk="1" fontAlgn="auto" latinLnBrk="0" hangingPunct="1">
        <a:lnSpc>
          <a:spcPct val="150000"/>
        </a:lnSpc>
        <a:spcBef>
          <a:spcPts val="0"/>
        </a:spcBef>
        <a:spcAft>
          <a:spcPts val="0"/>
        </a:spcAft>
        <a:buClrTx/>
        <a:buSzTx/>
        <a:buFont typeface="Wingdings" panose="05000000000000000000" pitchFamily="2" charset="2"/>
        <a:buChar char="Ø"/>
        <a:defRPr sz="1865" kern="1200">
          <a:solidFill>
            <a:schemeClr val="tx1"/>
          </a:solidFill>
          <a:latin typeface="Audi Type" panose="020B0503040200000003"/>
          <a:ea typeface="微软雅黑" panose="020B0503020204020204" pitchFamily="34" charset="-122"/>
          <a:cs typeface="+mn-cs"/>
        </a:defRPr>
      </a:lvl3pPr>
      <a:lvl4pPr marL="21336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5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5" kern="1200">
          <a:solidFill>
            <a:schemeClr val="tx1"/>
          </a:solidFill>
          <a:latin typeface="+mn-lt"/>
          <a:ea typeface="+mn-ea"/>
          <a:cs typeface="+mn-cs"/>
        </a:defRPr>
      </a:lvl5pPr>
      <a:lvl6pPr marL="33528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6pPr>
      <a:lvl7pPr marL="39624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7pPr>
      <a:lvl8pPr marL="45720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8pPr>
      <a:lvl9pPr marL="51816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7" Type="http://schemas.openxmlformats.org/officeDocument/2006/relationships/vmlDrawing" Target="../drawings/vmlDrawing4.vml"/><Relationship Id="rId6" Type="http://schemas.openxmlformats.org/officeDocument/2006/relationships/slideLayout" Target="../slideLayouts/slideLayout5.xml"/><Relationship Id="rId5" Type="http://schemas.openxmlformats.org/officeDocument/2006/relationships/image" Target="../media/image11.jpeg"/><Relationship Id="rId4" Type="http://schemas.openxmlformats.org/officeDocument/2006/relationships/tags" Target="../tags/tag24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4.bin"/><Relationship Id="rId1" Type="http://schemas.openxmlformats.org/officeDocument/2006/relationships/tags" Target="../tags/tag2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43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en-GB" sz="2800" dirty="0">
              <a:solidFill>
                <a:schemeClr val="tx1"/>
              </a:solidFill>
              <a:latin typeface="Audi Type Extended" panose="020B0505040200000003" pitchFamily="34" charset="0"/>
              <a:sym typeface="Audi Type Extended" panose="020B0505040200000003" pitchFamily="34" charset="0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>
              <a:spcBef>
                <a:spcPts val="600"/>
              </a:spcBef>
              <a:buSzPct val="100000"/>
            </a:pPr>
            <a:r>
              <a:rPr lang="zh-CN" altLang="en-US" b="0" dirty="0" smtClean="0">
                <a:latin typeface="华康金刚黑" panose="020B0400000000000000" pitchFamily="34" charset="-122"/>
                <a:ea typeface="华康金刚黑" panose="020B0400000000000000" pitchFamily="34" charset="-122"/>
                <a:cs typeface="Audi Type Extended" panose="020B0505040200000003" pitchFamily="34" charset="0"/>
              </a:rPr>
              <a:t>一汽奥迪品牌衍生服务产品运营服务商应标</a:t>
            </a:r>
            <a:r>
              <a:rPr lang="zh-CN" altLang="en-US" b="0" dirty="0" smtClean="0">
                <a:latin typeface="华康金刚黑" panose="020B0400000000000000" pitchFamily="34" charset="-122"/>
                <a:ea typeface="华康金刚黑" panose="020B0400000000000000" pitchFamily="34" charset="-122"/>
                <a:cs typeface="Audi Type Extended" panose="020B0505040200000003" pitchFamily="34" charset="0"/>
              </a:rPr>
              <a:t>模板</a:t>
            </a:r>
            <a:endParaRPr lang="zh-CN" altLang="en-US" b="0" dirty="0" smtClean="0">
              <a:latin typeface="华康金刚黑" panose="020B0400000000000000" pitchFamily="34" charset="-122"/>
              <a:ea typeface="华康金刚黑" panose="020B0400000000000000" pitchFamily="34" charset="-122"/>
              <a:cs typeface="Audi Type Extended" panose="020B0505040200000003" pitchFamily="34" charset="0"/>
            </a:endParaRPr>
          </a:p>
        </p:txBody>
      </p:sp>
      <p:pic>
        <p:nvPicPr>
          <p:cNvPr id="6" name="Bildplatzhalter 5" descr="Ein Bild, das Gebäude, Straße, draußen, Stadt enthält.&#10;&#10;Automatisch generierte Beschreibung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5" cstate="print"/>
          <a:srcRect t="69" b="69"/>
          <a:stretch>
            <a:fillRect/>
          </a:stretch>
        </p:blipFill>
        <p:spPr/>
      </p:pic>
      <p:sp>
        <p:nvSpPr>
          <p:cNvPr id="9" name="Untertitel 2"/>
          <p:cNvSpPr txBox="1"/>
          <p:nvPr/>
        </p:nvSpPr>
        <p:spPr bwMode="gray">
          <a:xfrm>
            <a:off x="695325" y="5905658"/>
            <a:ext cx="10635767" cy="2772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None/>
              <a:defRPr sz="1400" b="0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rgbClr val="CC0033"/>
              </a:buClr>
              <a:buSzPct val="150000"/>
              <a:buFont typeface="Audi Type" panose="020B0503040200000003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50000"/>
              <a:buFont typeface="Audi Type" panose="020B0503040200000003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3"/>
              </a:buClr>
              <a:buSzPct val="150000"/>
              <a:buFont typeface="Audi Type" panose="020B0503040200000003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Symbol" panose="05050102010706020507" pitchFamily="18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350" dirty="0" smtClean="0">
                <a:latin typeface="华康金刚黑" panose="020B0400000000000000" pitchFamily="34" charset="-122"/>
                <a:ea typeface="华康金刚黑" panose="020B0400000000000000" pitchFamily="34" charset="-122"/>
              </a:rPr>
              <a:t>奥迪汽车金融部 </a:t>
            </a:r>
            <a:r>
              <a:rPr lang="en-US" altLang="zh-CN" sz="1350" dirty="0" smtClean="0">
                <a:latin typeface="华康金刚黑" panose="020B0400000000000000" pitchFamily="34" charset="-122"/>
                <a:ea typeface="华康金刚黑" panose="020B0400000000000000" pitchFamily="34" charset="-122"/>
              </a:rPr>
              <a:t>|</a:t>
            </a:r>
            <a:r>
              <a:rPr lang="zh-CN" altLang="en-US" sz="1350" dirty="0" smtClean="0">
                <a:latin typeface="华康金刚黑" panose="020B0400000000000000" pitchFamily="34" charset="-122"/>
                <a:ea typeface="华康金刚黑" panose="020B0400000000000000" pitchFamily="34" charset="-122"/>
              </a:rPr>
              <a:t> </a:t>
            </a:r>
            <a:r>
              <a:rPr lang="en-US" altLang="zh-CN" sz="1350" dirty="0" smtClean="0">
                <a:latin typeface="华康金刚黑" panose="020B0400000000000000" pitchFamily="34" charset="-122"/>
                <a:ea typeface="华康金刚黑" panose="020B0400000000000000" pitchFamily="34" charset="-122"/>
              </a:rPr>
              <a:t>2025-07</a:t>
            </a:r>
            <a:endParaRPr lang="en-US" altLang="zh-CN" sz="1350" dirty="0" smtClean="0">
              <a:latin typeface="华康金刚黑" panose="020B0400000000000000" pitchFamily="34" charset="-122"/>
              <a:ea typeface="华康金刚黑" panose="020B0400000000000000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1897364" y="1514066"/>
            <a:ext cx="1265730" cy="806993"/>
          </a:xfrm>
        </p:spPr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01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163094" y="1889128"/>
            <a:ext cx="6069011" cy="248022"/>
          </a:xfrm>
        </p:spPr>
        <p:txBody>
          <a:bodyPr/>
          <a:lstStyle/>
          <a:p>
            <a:r>
              <a:rPr lang="zh-CN" altLang="en-US" sz="2400" dirty="0" smtClean="0">
                <a:solidFill>
                  <a:schemeClr val="tx1"/>
                </a:solidFill>
                <a:latin typeface="+mj-ea"/>
                <a:ea typeface="+mj-ea"/>
              </a:rPr>
              <a:t>公司概况</a:t>
            </a:r>
            <a:endParaRPr lang="zh-CN" altLang="en-US" sz="2400" dirty="0" smtClean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1897364" y="2590934"/>
            <a:ext cx="1265730" cy="806993"/>
          </a:xfrm>
        </p:spPr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02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3163094" y="2965996"/>
            <a:ext cx="6069011" cy="248022"/>
          </a:xfrm>
        </p:spPr>
        <p:txBody>
          <a:bodyPr/>
          <a:lstStyle/>
          <a:p>
            <a:r>
              <a:rPr lang="zh-CN" altLang="en-US" sz="2400" dirty="0" smtClean="0">
                <a:solidFill>
                  <a:schemeClr val="tx1"/>
                </a:solidFill>
                <a:latin typeface="+mj-ea"/>
                <a:ea typeface="+mj-ea"/>
              </a:rPr>
              <a:t>项目经验及业务管理机制</a:t>
            </a:r>
            <a:endParaRPr lang="zh-CN" altLang="en-US" sz="2400" dirty="0" smtClean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7"/>
          </p:nvPr>
        </p:nvSpPr>
        <p:spPr>
          <a:xfrm>
            <a:off x="1897364" y="3667802"/>
            <a:ext cx="1265730" cy="806993"/>
          </a:xfrm>
        </p:spPr>
        <p:txBody>
          <a:bodyPr/>
          <a:lstStyle/>
          <a:p>
            <a:r>
              <a:rPr lang="en-GB">
                <a:solidFill>
                  <a:schemeClr val="tx1"/>
                </a:solidFill>
              </a:rPr>
              <a:t>03</a:t>
            </a:r>
            <a:endParaRPr lang="en-GB">
              <a:solidFill>
                <a:schemeClr val="tx1"/>
              </a:solidFill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6"/>
          </p:nvPr>
        </p:nvSpPr>
        <p:spPr>
          <a:xfrm>
            <a:off x="3163094" y="4042864"/>
            <a:ext cx="6069011" cy="248022"/>
          </a:xfrm>
        </p:spPr>
        <p:txBody>
          <a:bodyPr/>
          <a:lstStyle/>
          <a:p>
            <a:r>
              <a:rPr lang="zh-CN" altLang="en-US" sz="2400" dirty="0" smtClean="0">
                <a:solidFill>
                  <a:schemeClr val="tx1"/>
                </a:solidFill>
                <a:latin typeface="+mj-ea"/>
                <a:ea typeface="+mj-ea"/>
              </a:rPr>
              <a:t>本次合作开展规划</a:t>
            </a:r>
            <a:endParaRPr lang="zh-CN" altLang="en-US" sz="2400" dirty="0" smtClean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21" name="标题 18"/>
          <p:cNvSpPr txBox="1"/>
          <p:nvPr/>
        </p:nvSpPr>
        <p:spPr bwMode="gray">
          <a:xfrm>
            <a:off x="695325" y="416560"/>
            <a:ext cx="11493500" cy="8769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8000" b="1" i="0" kern="1200" baseline="0">
                <a:solidFill>
                  <a:schemeClr val="tx1"/>
                </a:solidFill>
                <a:latin typeface="Audi Type Extended" panose="020B0505040200000003" pitchFamily="34" charset="0"/>
                <a:ea typeface="华康金刚黑" panose="020B0400000000000000" pitchFamily="34" charset="-122"/>
                <a:cs typeface="Audi Type Extended" panose="020B05050402000000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 Extended" panose="020B0505040200000003" pitchFamily="34" charset="0"/>
                <a:ea typeface="华康金刚黑" panose="020B0400000000000000" pitchFamily="34" charset="-122"/>
                <a:cs typeface="Audi Type Extended" panose="020B0505040200000003" pitchFamily="34" charset="0"/>
              </a:rPr>
              <a:t>目录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panose="020B0505040200000003" pitchFamily="34" charset="0"/>
              <a:ea typeface="华康金刚黑" panose="020B0400000000000000" pitchFamily="34" charset="-122"/>
              <a:cs typeface="Audi Type Extended" panose="020B0505040200000003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公司</a:t>
            </a:r>
            <a:r>
              <a:rPr lang="zh-CN" altLang="en-US" dirty="0"/>
              <a:t>概况</a:t>
            </a:r>
            <a:endParaRPr lang="zh-CN" altLang="en-US" dirty="0"/>
          </a:p>
        </p:txBody>
      </p:sp>
      <p:sp>
        <p:nvSpPr>
          <p:cNvPr id="7" name="文本框 6"/>
          <p:cNvSpPr txBox="1"/>
          <p:nvPr/>
        </p:nvSpPr>
        <p:spPr>
          <a:xfrm>
            <a:off x="734060" y="1140460"/>
            <a:ext cx="8506460" cy="26022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需包含以下</a:t>
            </a: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内容：</a:t>
            </a: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altLang="zh-CN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1</a:t>
            </a: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、公司</a:t>
            </a: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情况</a:t>
            </a: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altLang="zh-CN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2</a:t>
            </a: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、商务</a:t>
            </a: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资质</a:t>
            </a: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altLang="zh-CN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3</a:t>
            </a: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、业务覆盖度情况（包括实际展业城市总数及清单、对应人员配置、人员优势、区域优势等</a:t>
            </a: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）</a:t>
            </a: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</p:txBody>
      </p:sp>
      <p:graphicFrame>
        <p:nvGraphicFramePr>
          <p:cNvPr id="8" name="表格 7"/>
          <p:cNvGraphicFramePr/>
          <p:nvPr/>
        </p:nvGraphicFramePr>
        <p:xfrm>
          <a:off x="695325" y="1920240"/>
          <a:ext cx="10486390" cy="0"/>
        </p:xfrm>
        <a:graphic>
          <a:graphicData uri="http://schemas.openxmlformats.org/drawingml/2006/table">
            <a:tbl>
              <a:tblPr/>
              <a:tblGrid>
                <a:gridCol w="2035810"/>
                <a:gridCol w="6999605"/>
                <a:gridCol w="1450975"/>
              </a:tblGrid>
              <a:tr h="0">
                <a:tc>
                  <a:txBody>
                    <a:bodyPr/>
                    <a:p>
                      <a:pPr marL="0" indent="0" algn="ctr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100">
                          <a:latin typeface="Times New Roman" panose="02020603050405020304"/>
                          <a:ea typeface="宋体" panose="02010600030101010101" pitchFamily="2" charset="-122"/>
                        </a:rPr>
                        <a:t>基本信息</a:t>
                      </a:r>
                      <a:endParaRPr lang="zh-CN" sz="1100">
                        <a:latin typeface="Times New Roman" panose="02020603050405020304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p>
                      <a:pPr marL="0" indent="0" algn="ctr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100">
                          <a:latin typeface="Times New Roman" panose="02020603050405020304"/>
                          <a:ea typeface="宋体" panose="02010600030101010101" pitchFamily="2" charset="-122"/>
                        </a:rPr>
                        <a:t>备注</a:t>
                      </a:r>
                      <a:endParaRPr lang="zh-CN" sz="1100">
                        <a:latin typeface="Times New Roman" panose="02020603050405020304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p>
                      <a:pPr marL="0" indent="0" algn="ctr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100">
                          <a:latin typeface="Times New Roman" panose="02020603050405020304"/>
                          <a:ea typeface="宋体" panose="02010600030101010101" pitchFamily="2" charset="-122"/>
                        </a:rPr>
                        <a:t>此处填写</a:t>
                      </a:r>
                      <a:endParaRPr lang="zh-CN" sz="1100">
                        <a:latin typeface="Times New Roman" panose="02020603050405020304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</a:tr>
              <a:tr h="0">
                <a:tc>
                  <a:txBody>
                    <a:bodyPr/>
                    <a:p>
                      <a:pPr marL="0" indent="0" algn="just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100">
                          <a:latin typeface="Times New Roman" panose="02020603050405020304"/>
                          <a:ea typeface="宋体" panose="02010600030101010101" pitchFamily="2" charset="-122"/>
                        </a:rPr>
                        <a:t>公司成立日期</a:t>
                      </a:r>
                      <a:endParaRPr lang="zh-CN" sz="1100">
                        <a:latin typeface="Times New Roman" panose="02020603050405020304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0" indent="0" algn="just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100">
                          <a:latin typeface="Times New Roman" panose="02020603050405020304"/>
                          <a:ea typeface="宋体" panose="02010600030101010101" pitchFamily="2" charset="-122"/>
                        </a:rPr>
                        <a:t>格式：年</a:t>
                      </a:r>
                      <a:r>
                        <a:rPr lang="en-US" altLang="zh-CN" sz="1100">
                          <a:latin typeface="Times New Roman" panose="02020603050405020304"/>
                          <a:ea typeface="Times New Roman" panose="02020603050405020304"/>
                        </a:rPr>
                        <a:t>/</a:t>
                      </a:r>
                      <a:r>
                        <a:rPr lang="zh-CN" sz="1100">
                          <a:latin typeface="Times New Roman" panose="02020603050405020304"/>
                          <a:ea typeface="宋体" panose="02010600030101010101" pitchFamily="2" charset="-122"/>
                        </a:rPr>
                        <a:t>月</a:t>
                      </a:r>
                      <a:r>
                        <a:rPr lang="en-US" altLang="zh-CN" sz="1100">
                          <a:latin typeface="Times New Roman" panose="02020603050405020304"/>
                          <a:ea typeface="Times New Roman" panose="02020603050405020304"/>
                        </a:rPr>
                        <a:t>/</a:t>
                      </a:r>
                      <a:r>
                        <a:rPr lang="zh-CN" sz="1100">
                          <a:latin typeface="Times New Roman" panose="02020603050405020304"/>
                          <a:ea typeface="宋体" panose="02010600030101010101" pitchFamily="2" charset="-122"/>
                        </a:rPr>
                        <a:t>日</a:t>
                      </a:r>
                      <a:endParaRPr lang="zh-CN" sz="1100">
                        <a:latin typeface="Times New Roman" panose="02020603050405020304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0" indent="0" algn="just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100">
                          <a:latin typeface="Times New Roman" panose="02020603050405020304"/>
                          <a:ea typeface="宋体" panose="02010600030101010101" pitchFamily="2" charset="-122"/>
                        </a:rPr>
                        <a:t> </a:t>
                      </a:r>
                      <a:endParaRPr lang="en-US" altLang="zh-CN" sz="1100">
                        <a:latin typeface="Times New Roman" panose="02020603050405020304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p>
                      <a:pPr marL="0" indent="0" algn="just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100">
                          <a:latin typeface="Times New Roman" panose="02020603050405020304"/>
                          <a:ea typeface="宋体" panose="02010600030101010101" pitchFamily="2" charset="-122"/>
                        </a:rPr>
                        <a:t>公司注册资本</a:t>
                      </a:r>
                      <a:endParaRPr lang="zh-CN" sz="1100">
                        <a:latin typeface="Times New Roman" panose="02020603050405020304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0" indent="0" algn="just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100">
                          <a:latin typeface="Times New Roman" panose="02020603050405020304"/>
                          <a:ea typeface="宋体" panose="02010600030101010101" pitchFamily="2" charset="-122"/>
                        </a:rPr>
                        <a:t>单位：人民币万元</a:t>
                      </a:r>
                      <a:endParaRPr lang="zh-CN" sz="1100">
                        <a:latin typeface="Times New Roman" panose="02020603050405020304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0" indent="0" algn="just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100">
                          <a:latin typeface="Times New Roman" panose="02020603050405020304"/>
                          <a:ea typeface="宋体" panose="02010600030101010101" pitchFamily="2" charset="-122"/>
                        </a:rPr>
                        <a:t> </a:t>
                      </a:r>
                      <a:endParaRPr lang="en-US" altLang="zh-CN" sz="1100">
                        <a:latin typeface="Times New Roman" panose="02020603050405020304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p>
                      <a:pPr marL="0" indent="0" algn="just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100">
                          <a:latin typeface="Times New Roman" panose="02020603050405020304"/>
                          <a:ea typeface="宋体" panose="02010600030101010101" pitchFamily="2" charset="-122"/>
                        </a:rPr>
                        <a:t>公司实缴资本</a:t>
                      </a:r>
                      <a:endParaRPr lang="zh-CN" sz="1100">
                        <a:latin typeface="Times New Roman" panose="02020603050405020304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0" indent="0" algn="just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100">
                          <a:latin typeface="Times New Roman" panose="02020603050405020304"/>
                          <a:ea typeface="宋体" panose="02010600030101010101" pitchFamily="2" charset="-122"/>
                        </a:rPr>
                        <a:t>单位：人民币万元</a:t>
                      </a:r>
                      <a:endParaRPr lang="zh-CN" sz="1100">
                        <a:latin typeface="Times New Roman" panose="02020603050405020304"/>
                        <a:ea typeface="宋体" panose="02010600030101010101" pitchFamily="2" charset="-122"/>
                      </a:endParaRPr>
                    </a:p>
                    <a:p>
                      <a:pPr marL="0" indent="0" algn="just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100">
                          <a:latin typeface="Times New Roman" panose="02020603050405020304"/>
                          <a:ea typeface="宋体" panose="02010600030101010101" pitchFamily="2" charset="-122"/>
                        </a:rPr>
                        <a:t>需提供证明文件（企业公示信息截图、或投资款收据等）</a:t>
                      </a:r>
                      <a:endParaRPr lang="zh-CN" sz="1100">
                        <a:latin typeface="Times New Roman" panose="02020603050405020304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0" indent="0" algn="just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100">
                          <a:latin typeface="Times New Roman" panose="02020603050405020304"/>
                          <a:ea typeface="宋体" panose="02010600030101010101" pitchFamily="2" charset="-122"/>
                        </a:rPr>
                        <a:t> </a:t>
                      </a:r>
                      <a:endParaRPr lang="en-US" altLang="zh-CN" sz="1100">
                        <a:latin typeface="Times New Roman" panose="02020603050405020304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p>
                      <a:pPr marL="0" indent="0" algn="just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100">
                          <a:latin typeface="Times New Roman" panose="02020603050405020304"/>
                          <a:ea typeface="宋体" panose="02010600030101010101" pitchFamily="2" charset="-122"/>
                        </a:rPr>
                        <a:t>公司在编人员数量</a:t>
                      </a:r>
                      <a:endParaRPr lang="zh-CN" sz="1100">
                        <a:latin typeface="Times New Roman" panose="02020603050405020304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0" indent="0" algn="just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100">
                          <a:latin typeface="Times New Roman" panose="02020603050405020304"/>
                          <a:ea typeface="宋体" panose="02010600030101010101" pitchFamily="2" charset="-122"/>
                        </a:rPr>
                        <a:t>指参加社保缴纳的人数</a:t>
                      </a:r>
                      <a:endParaRPr lang="zh-CN" sz="1100">
                        <a:latin typeface="Times New Roman" panose="02020603050405020304"/>
                        <a:ea typeface="宋体" panose="02010600030101010101" pitchFamily="2" charset="-122"/>
                      </a:endParaRPr>
                    </a:p>
                    <a:p>
                      <a:pPr marL="0" indent="0" algn="just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100">
                          <a:latin typeface="Times New Roman" panose="02020603050405020304"/>
                          <a:ea typeface="宋体" panose="02010600030101010101" pitchFamily="2" charset="-122"/>
                        </a:rPr>
                        <a:t>需提供证明文件（近三月社保缴纳情况，需呈现社保缴纳人数，无需明细）</a:t>
                      </a:r>
                      <a:endParaRPr lang="zh-CN" sz="1100">
                        <a:latin typeface="Times New Roman" panose="02020603050405020304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0" indent="0" algn="just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100">
                          <a:latin typeface="Times New Roman" panose="02020603050405020304"/>
                          <a:ea typeface="宋体" panose="02010600030101010101" pitchFamily="2" charset="-122"/>
                        </a:rPr>
                        <a:t> </a:t>
                      </a:r>
                      <a:endParaRPr lang="en-US" altLang="zh-CN" sz="1100">
                        <a:latin typeface="Times New Roman" panose="02020603050405020304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p>
                      <a:pPr marL="0" indent="0" algn="just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100"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近</a:t>
                      </a:r>
                      <a:r>
                        <a:rPr lang="en-US" altLang="zh-CN" sz="1100"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</a:t>
                      </a:r>
                      <a:r>
                        <a:rPr lang="zh-CN" altLang="en-US" sz="1100"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</a:t>
                      </a:r>
                      <a:r>
                        <a:rPr lang="zh-CN" sz="1100"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收入规模</a:t>
                      </a:r>
                      <a:endParaRPr lang="zh-CN" sz="1100"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0" indent="0" algn="just" fontAlgn="ctr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100"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单位：人民币万元</a:t>
                      </a:r>
                      <a:endParaRPr lang="zh-CN" sz="1100"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  <a:p>
                      <a:pPr marL="0" indent="0" algn="just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100"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数据截至</a:t>
                      </a:r>
                      <a:r>
                        <a:rPr lang="en-US" altLang="zh-CN" sz="1100"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3</a:t>
                      </a:r>
                      <a:r>
                        <a:rPr lang="zh-CN" altLang="en-US" sz="1100"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</a:t>
                      </a:r>
                      <a:r>
                        <a:rPr lang="en-US" altLang="zh-CN" sz="1100"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5</a:t>
                      </a:r>
                      <a:r>
                        <a:rPr lang="zh-CN" altLang="en-US" sz="1100"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月</a:t>
                      </a:r>
                      <a:r>
                        <a:rPr lang="en-US" altLang="zh-CN" sz="1100"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1</a:t>
                      </a:r>
                      <a:r>
                        <a:rPr lang="zh-CN" altLang="en-US" sz="1100"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日</a:t>
                      </a:r>
                      <a:r>
                        <a:rPr lang="en-US" altLang="zh-CN" sz="1100"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26</a:t>
                      </a:r>
                      <a:r>
                        <a:rPr lang="zh-CN" altLang="en-US" sz="1100"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</a:t>
                      </a:r>
                      <a:r>
                        <a:rPr lang="en-US" altLang="zh-CN" sz="1100"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5</a:t>
                      </a:r>
                      <a:r>
                        <a:rPr lang="zh-CN" altLang="en-US" sz="1100"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月</a:t>
                      </a:r>
                      <a:r>
                        <a:rPr lang="en-US" altLang="zh-CN" sz="1100"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1</a:t>
                      </a:r>
                      <a:r>
                        <a:rPr lang="zh-CN" altLang="en-US" sz="1100"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日</a:t>
                      </a:r>
                      <a:r>
                        <a:rPr lang="zh-CN" altLang="en-US" sz="1100">
                          <a:latin typeface="Times New Roman" panose="02020603050405020304"/>
                          <a:ea typeface="宋体" panose="02010600030101010101" pitchFamily="2" charset="-122"/>
                        </a:rPr>
                        <a:t> </a:t>
                      </a:r>
                      <a:endParaRPr lang="zh-CN" sz="1100">
                        <a:latin typeface="Times New Roman" panose="02020603050405020304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sz="1100">
                        <a:latin typeface="Times New Roman" panose="02020603050405020304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项目经验及历史执行</a:t>
            </a:r>
            <a:r>
              <a:rPr lang="zh-CN" altLang="en-US" dirty="0"/>
              <a:t>情况</a:t>
            </a:r>
            <a:endParaRPr lang="zh-CN" altLang="en-US" dirty="0"/>
          </a:p>
        </p:txBody>
      </p:sp>
      <p:sp>
        <p:nvSpPr>
          <p:cNvPr id="7" name="文本框 6"/>
          <p:cNvSpPr txBox="1"/>
          <p:nvPr/>
        </p:nvSpPr>
        <p:spPr>
          <a:xfrm>
            <a:off x="734060" y="1140460"/>
            <a:ext cx="8506460" cy="2839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pPr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主机厂合作</a:t>
            </a: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285750" marR="0" indent="-28575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主机厂及其关联公司合作项目总数</a:t>
            </a: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285750" marR="0" indent="-28575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主要项目介绍、并提供证明文件</a:t>
            </a: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285750" marR="0" indent="-28575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当前业务执行情况（业务渗透率或份额情况、现有业务规模、当前合作模式及</a:t>
            </a: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产品、合作覆盖</a:t>
            </a: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城市）</a:t>
            </a: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285750" marR="0" indent="-28575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其他相关信息</a:t>
            </a: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经销商</a:t>
            </a: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合作</a:t>
            </a: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285750" marR="0" indent="-28575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zh-CN" altLang="en-US" sz="1400" kern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  <a:sym typeface="+mn-ea"/>
              </a:rPr>
              <a:t>经销商合作项目总数</a:t>
            </a: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285750" marR="0" indent="-28575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zh-CN" altLang="en-US" sz="1400" kern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  <a:sym typeface="+mn-ea"/>
              </a:rPr>
              <a:t>主要项目介绍、并提供证明文件</a:t>
            </a: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285750" marR="0" indent="-28575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zh-CN" altLang="en-US" sz="1400" kern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  <a:sym typeface="+mn-ea"/>
              </a:rPr>
              <a:t>当前业务执行情况（业务渗透率或份额情况、当前合作模式、合作覆盖城市，可选取</a:t>
            </a:r>
            <a:r>
              <a:rPr lang="en-US" altLang="zh-CN" sz="1400" kern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  <a:sym typeface="+mn-ea"/>
              </a:rPr>
              <a:t>1</a:t>
            </a:r>
            <a:r>
              <a:rPr lang="zh-CN" altLang="en-US" sz="1400" kern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  <a:sym typeface="+mn-ea"/>
              </a:rPr>
              <a:t>家优秀案例说明）</a:t>
            </a:r>
            <a:endParaRPr lang="zh-CN" altLang="en-US" sz="1400" kern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  <a:sym typeface="+mn-ea"/>
            </a:endParaRPr>
          </a:p>
          <a:p>
            <a:pPr marL="285750" marR="0" indent="-28575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奥迪品牌</a:t>
            </a: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经销商现有合作</a:t>
            </a: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情况</a:t>
            </a: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285750" marR="0" indent="-28575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zh-CN" altLang="en-US" sz="1400" kern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  <a:sym typeface="+mn-ea"/>
              </a:rPr>
              <a:t>其他相关信息</a:t>
            </a: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</a:pP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业务管理</a:t>
            </a:r>
            <a:r>
              <a:rPr lang="zh-CN" altLang="en-US" dirty="0"/>
              <a:t>机制</a:t>
            </a:r>
            <a:endParaRPr lang="zh-CN" altLang="en-US" dirty="0"/>
          </a:p>
        </p:txBody>
      </p:sp>
      <p:sp>
        <p:nvSpPr>
          <p:cNvPr id="7" name="文本框 6"/>
          <p:cNvSpPr txBox="1"/>
          <p:nvPr/>
        </p:nvSpPr>
        <p:spPr>
          <a:xfrm>
            <a:off x="734060" y="1140460"/>
            <a:ext cx="8506460" cy="21291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pPr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驻店业务的思考和分析</a:t>
            </a: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285750" marR="0" indent="-28575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驻店业务的发展需建立哪些核心能力</a:t>
            </a: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285750" marR="0" indent="-28575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一线人员流动性管控机制</a:t>
            </a: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285750" marR="0" indent="-28575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zh-CN" altLang="en-US" sz="1400" kern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  <a:sym typeface="+mn-ea"/>
              </a:rPr>
              <a:t>如何解决优秀人员紧缺、如何快速培养助力驻店人员成长</a:t>
            </a: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285750" marR="0" indent="-28575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虚假销售的预防、查验、以及追责机制</a:t>
            </a: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</a:pP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系统化驻店管理</a:t>
            </a: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285750" marR="0" indent="-28575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管理工具（如</a:t>
            </a: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语音工牌、</a:t>
            </a:r>
            <a:r>
              <a:rPr kumimoji="0" lang="en-US" altLang="zh-CN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AI</a:t>
            </a: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应用等）</a:t>
            </a: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285750" marR="0" indent="-28575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人员培训管理</a:t>
            </a: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</a:pP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本次合作开展</a:t>
            </a:r>
            <a:r>
              <a:rPr lang="zh-CN" altLang="en-US" dirty="0"/>
              <a:t>规划</a:t>
            </a:r>
            <a:endParaRPr lang="zh-CN" altLang="en-US" dirty="0"/>
          </a:p>
        </p:txBody>
      </p:sp>
      <p:sp>
        <p:nvSpPr>
          <p:cNvPr id="7" name="文本框 6"/>
          <p:cNvSpPr txBox="1"/>
          <p:nvPr/>
        </p:nvSpPr>
        <p:spPr>
          <a:xfrm>
            <a:off x="734060" y="1140460"/>
            <a:ext cx="10637520" cy="3075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en-US" altLang="zh-CN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主机厂合作方案</a:t>
            </a: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en-US" altLang="zh-CN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altLang="zh-CN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-</a:t>
            </a: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经营管理：基于不同体量和地区经销商的人员管理方案（人原配置标准及保障承诺）、运营销量提升方案、经销商整体的利润分配方案</a:t>
            </a: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altLang="zh-CN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-</a:t>
            </a: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承诺保证：包括不限于销售能力及目标保证、诚信合规经营保障、允许厂家经营过程抽检承诺、造成销售风险损失客户投诉责任承担、承担售后责任的周期及处理机制保障</a:t>
            </a: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en-US" altLang="zh-CN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经销商合作方案</a:t>
            </a: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合作范围及协议重点</a:t>
            </a: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客户服务及售后承诺</a:t>
            </a: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40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udi Type Bold" panose="020B0503040200000003" pitchFamily="34" charset="0"/>
                <a:cs typeface="Audi Type Bold" panose="020B0503040200000003" pitchFamily="34" charset="0"/>
              </a:rPr>
              <a:t>合规经营承诺）</a:t>
            </a: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285750" marR="0" indent="-28575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  <a:p>
            <a:pPr marL="285750" marR="0" indent="-28575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endParaRPr kumimoji="0" lang="zh-CN" altLang="en-US" sz="140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latin typeface="Audi Type Bold" panose="020B0503040200000003" pitchFamily="34" charset="0"/>
              <a:cs typeface="Audi Type Bold" panose="020B0503040200000003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pqFmO9LwxkkC_i0PX5yhZFQ"/>
</p:tagLst>
</file>

<file path=ppt/tags/tag11.xml><?xml version="1.0" encoding="utf-8"?>
<p:tagLst xmlns:p="http://schemas.openxmlformats.org/presentationml/2006/main">
  <p:tag name="THINKCELLSHAPEDONOTDELETE" val="p8O3074ZST06rQzVVQzRKdQ"/>
</p:tagLst>
</file>

<file path=ppt/tags/tag12.xml><?xml version="1.0" encoding="utf-8"?>
<p:tagLst xmlns:p="http://schemas.openxmlformats.org/presentationml/2006/main">
  <p:tag name="THINKCELLSHAPEDONOTDELETE" val="pA35HLrUn50Kh53BsCixt3A"/>
</p:tagLst>
</file>

<file path=ppt/tags/tag13.xml><?xml version="1.0" encoding="utf-8"?>
<p:tagLst xmlns:p="http://schemas.openxmlformats.org/presentationml/2006/main">
  <p:tag name="THINKCELLSHAPEDONOTDELETE" val="phaEihyo8kkSN3OhIjtqp6Q"/>
</p:tagLst>
</file>

<file path=ppt/tags/tag14.xml><?xml version="1.0" encoding="utf-8"?>
<p:tagLst xmlns:p="http://schemas.openxmlformats.org/presentationml/2006/main">
  <p:tag name="THINKCELLSHAPEDONOTDELETE" val="pMKpyWYLViUWikrm_FB5mNg"/>
</p:tagLst>
</file>

<file path=ppt/tags/tag15.xml><?xml version="1.0" encoding="utf-8"?>
<p:tagLst xmlns:p="http://schemas.openxmlformats.org/presentationml/2006/main">
  <p:tag name="THINKCELLSHAPEDONOTDELETE" val="pMKpyWYLViUWikrm_FB5mNg"/>
</p:tagLst>
</file>

<file path=ppt/tags/tag16.xml><?xml version="1.0" encoding="utf-8"?>
<p:tagLst xmlns:p="http://schemas.openxmlformats.org/presentationml/2006/main">
  <p:tag name="THINKCELLSHAPEDONOTDELETE" val="thinkcellActiveDocDoNotDelete"/>
</p:tagLst>
</file>

<file path=ppt/tags/tag17.xml><?xml version="1.0" encoding="utf-8"?>
<p:tagLst xmlns:p="http://schemas.openxmlformats.org/presentationml/2006/main">
  <p:tag name="THINKCELLSHAPEDONOTDELETE" val="pr6b2_ZgN70yBZRKrTHhvOw"/>
</p:tagLst>
</file>

<file path=ppt/tags/tag18.xml><?xml version="1.0" encoding="utf-8"?>
<p:tagLst xmlns:p="http://schemas.openxmlformats.org/presentationml/2006/main">
  <p:tag name="THINKCELLSHAPEDONOTDELETE" val="pPfLgj6Ed2EGRcjOgP7GNqg"/>
</p:tagLst>
</file>

<file path=ppt/tags/tag19.xml><?xml version="1.0" encoding="utf-8"?>
<p:tagLst xmlns:p="http://schemas.openxmlformats.org/presentationml/2006/main">
  <p:tag name="THINKCELLSHAPEDONOTDELETE" val="pkaW.dldR8ESeDuYxdM2j3g"/>
</p:tagLst>
</file>

<file path=ppt/tags/tag2.xml><?xml version="1.0" encoding="utf-8"?>
<p:tagLst xmlns:p="http://schemas.openxmlformats.org/presentationml/2006/main">
  <p:tag name="THINKCELLSHAPEDONOTDELETE" val="tn2GldteJq3ja_Yp8l_ZAWQ"/>
</p:tagLst>
</file>

<file path=ppt/tags/tag20.xml><?xml version="1.0" encoding="utf-8"?>
<p:tagLst xmlns:p="http://schemas.openxmlformats.org/presentationml/2006/main">
  <p:tag name="THINKCELLSHAPEDONOTDELETE" val="pcJ8w4S8HcEqWUmV2d8zz4A"/>
</p:tagLst>
</file>

<file path=ppt/tags/tag21.xml><?xml version="1.0" encoding="utf-8"?>
<p:tagLst xmlns:p="http://schemas.openxmlformats.org/presentationml/2006/main">
  <p:tag name="THINKCELLSHAPEDONOTDELETE" val="plW4Bh5_JIUWl1gPG3KX6fw"/>
</p:tagLst>
</file>

<file path=ppt/tags/tag22.xml><?xml version="1.0" encoding="utf-8"?>
<p:tagLst xmlns:p="http://schemas.openxmlformats.org/presentationml/2006/main">
  <p:tag name="THINKCELLSHAPEDONOTDELETE" val="thinkcellActiveDocDoNotDelete"/>
</p:tagLst>
</file>

<file path=ppt/tags/tag23.xml><?xml version="1.0" encoding="utf-8"?>
<p:tagLst xmlns:p="http://schemas.openxmlformats.org/presentationml/2006/main">
  <p:tag name="THINKCELLSHAPEDONOTDELETE" val="thinkcellActiveDocDoNotDelete"/>
</p:tagLst>
</file>

<file path=ppt/tags/tag24.xml><?xml version="1.0" encoding="utf-8"?>
<p:tagLst xmlns:p="http://schemas.openxmlformats.org/presentationml/2006/main">
  <p:tag name="THINKCELLSHAPEDONOTDELETE" val="tOs3iA_Ok.igkSAmot_hw4g"/>
</p:tagLst>
</file>

<file path=ppt/tags/tag25.xml><?xml version="1.0" encoding="utf-8"?>
<p:tagLst xmlns:p="http://schemas.openxmlformats.org/presentationml/2006/main">
  <p:tag name="THINKCELLUNDODONOTDELETE" val="0"/>
</p:tagLst>
</file>

<file path=ppt/tags/tag3.xml><?xml version="1.0" encoding="utf-8"?>
<p:tagLst xmlns:p="http://schemas.openxmlformats.org/presentationml/2006/main">
  <p:tag name="THINKCELLSHAPEDONOTDELETE" val="tCj8TaSSAMaCFLDNIpxFr4Q"/>
</p:tagLst>
</file>

<file path=ppt/tags/tag4.xml><?xml version="1.0" encoding="utf-8"?>
<p:tagLst xmlns:p="http://schemas.openxmlformats.org/presentationml/2006/main">
  <p:tag name="THINKCELLSHAPEDONOTDELETE" val="p1C9lvhwRkUCihTMo95lLjA"/>
</p:tagLst>
</file>

<file path=ppt/tags/tag5.xml><?xml version="1.0" encoding="utf-8"?>
<p:tagLst xmlns:p="http://schemas.openxmlformats.org/presentationml/2006/main">
  <p:tag name="THINKCELLSHAPEDONOTDELETE" val="pfzIyYwEYA0eG5dj3hRGn9Q"/>
</p:tagLst>
</file>

<file path=ppt/tags/tag6.xml><?xml version="1.0" encoding="utf-8"?>
<p:tagLst xmlns:p="http://schemas.openxmlformats.org/presentationml/2006/main">
  <p:tag name="THINKCELLSHAPEDONOTDELETE" val="p4rUKiN2CS0GxXGovParKJw"/>
</p:tagLst>
</file>

<file path=ppt/tags/tag7.xml><?xml version="1.0" encoding="utf-8"?>
<p:tagLst xmlns:p="http://schemas.openxmlformats.org/presentationml/2006/main">
  <p:tag name="THINKCELLSHAPEDONOTDELETE" val="pOnmgMFGZZEa94htSVWnf6Q"/>
</p:tagLst>
</file>

<file path=ppt/tags/tag8.xml><?xml version="1.0" encoding="utf-8"?>
<p:tagLst xmlns:p="http://schemas.openxmlformats.org/presentationml/2006/main">
  <p:tag name="THINKCELLSHAPEDONOTDELETE" val="p.amYZb9ah0Wn_Sg6mXuh8g"/>
</p:tagLst>
</file>

<file path=ppt/tags/tag9.xml><?xml version="1.0" encoding="utf-8"?>
<p:tagLst xmlns:p="http://schemas.openxmlformats.org/presentationml/2006/main">
  <p:tag name="THINKCELLSHAPEDONOTDELETE" val="p8dSe3CcIY0S2VBG_.GjG6Q"/>
</p:tagLst>
</file>

<file path=ppt/theme/theme1.xml><?xml version="1.0" encoding="utf-8"?>
<a:theme xmlns:a="http://schemas.openxmlformats.org/drawingml/2006/main" name="Audi VdT EN 16:9">
  <a:themeElements>
    <a:clrScheme name="Benutzerdefiniert 62">
      <a:dk1>
        <a:srgbClr val="000000"/>
      </a:dk1>
      <a:lt1>
        <a:srgbClr val="FFFFFF"/>
      </a:lt1>
      <a:dk2>
        <a:srgbClr val="F2F2F2"/>
      </a:dk2>
      <a:lt2>
        <a:srgbClr val="DADADA"/>
      </a:lt2>
      <a:accent1>
        <a:srgbClr val="DADADA"/>
      </a:accent1>
      <a:accent2>
        <a:srgbClr val="C6C6C6"/>
      </a:accent2>
      <a:accent3>
        <a:srgbClr val="9D9D9D"/>
      </a:accent3>
      <a:accent4>
        <a:srgbClr val="575757"/>
      </a:accent4>
      <a:accent5>
        <a:srgbClr val="000000"/>
      </a:accent5>
      <a:accent6>
        <a:srgbClr val="F50537"/>
      </a:accent6>
      <a:hlink>
        <a:srgbClr val="000000"/>
      </a:hlink>
      <a:folHlink>
        <a:srgbClr val="C6C6C6"/>
      </a:folHlink>
    </a:clrScheme>
    <a:fontScheme name="自定义 3">
      <a:majorFont>
        <a:latin typeface="Audi Type Extended"/>
        <a:ea typeface="华康金刚黑"/>
        <a:cs typeface=""/>
      </a:majorFont>
      <a:minorFont>
        <a:latin typeface="Audi Type"/>
        <a:ea typeface="华康金刚黑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 cap="sq" cmpd="sng" algn="ctr">
          <a:noFill/>
          <a:prstDash val="solid"/>
          <a:miter lim="800000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noAutofit/>
      </a:bodyPr>
      <a:lstStyle>
        <a:defPPr algn="l">
          <a:lnSpc>
            <a:spcPct val="110000"/>
          </a:lnSpc>
          <a:spcBef>
            <a:spcPts val="800"/>
          </a:spcBef>
          <a:spcAft>
            <a:spcPts val="600"/>
          </a:spcAft>
          <a:defRPr sz="1400" b="1" smtClean="0">
            <a:solidFill>
              <a:schemeClr val="tx1"/>
            </a:solidFill>
            <a:latin typeface="+mn-lt"/>
          </a:defRPr>
        </a:defPPr>
      </a:lstStyle>
    </a:spDef>
    <a:lnDef>
      <a:spPr>
        <a:noFill/>
        <a:ln w="9525" cap="flat" cmpd="sng" algn="ctr">
          <a:solidFill>
            <a:schemeClr val="tx2"/>
          </a:solidFill>
          <a:prstDash val="solid"/>
        </a:ln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marL="0" marR="0" indent="0" algn="l" defTabSz="914400" eaLnBrk="1" fontAlgn="auto" latinLnBrk="0" hangingPunct="1">
          <a:lnSpc>
            <a:spcPct val="11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40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latin typeface="Audi Type Bold" panose="020B0503040200000003" pitchFamily="34" charset="0"/>
            <a:cs typeface="Audi Type Bold" panose="020B0503040200000003" pitchFamily="34" charset="0"/>
          </a:defRPr>
        </a:defPPr>
      </a:lstStyle>
    </a:txDef>
  </a:objectDefaults>
  <a:custClrLst>
    <a:custClr name="Audi Rot">
      <a:srgbClr val="BB0A30"/>
    </a:custClr>
    <a:custClr name="Gruen">
      <a:srgbClr val="CACE98"/>
    </a:custClr>
    <a:custClr name="Braun">
      <a:srgbClr val="715D49"/>
    </a:custClr>
    <a:custClr name="Violett">
      <a:srgbClr val="6C4859"/>
    </a:custClr>
    <a:custClr name="Dunkelblau">
      <a:srgbClr val="544C70"/>
    </a:custClr>
    <a:custClr name="Hellblau">
      <a:srgbClr val="6682A4"/>
    </a:custClr>
    <a:custClr name="Gelb">
      <a:srgbClr val="FFD671"/>
    </a:custClr>
    <a:custClr name="Audi Rot">
      <a:srgbClr val="BB0A30"/>
    </a:custClr>
    <a:custClr name="Ampelgelb">
      <a:srgbClr val="FFAA00"/>
    </a:custClr>
    <a:custClr name="Ampelgruen">
      <a:srgbClr val="009900"/>
    </a:custClr>
    <a:custClr name="Aluminium Silber">
      <a:srgbClr val="B3B3B3"/>
    </a:custClr>
    <a:custClr name="Warmes Silber">
      <a:srgbClr val="B6B1A9"/>
    </a:custClr>
    <a:custClr name="Weiss">
      <a:srgbClr val="FFFFFF"/>
    </a:custClr>
    <a:custClr name="Weiss">
      <a:srgbClr val="FFFFFF"/>
    </a:custClr>
    <a:custClr name="Weiss">
      <a:srgbClr val="FFFFFF"/>
    </a:custClr>
    <a:custClr name="Weiss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自定义设计方案">
  <a:themeElements>
    <a:clrScheme name="自定义 7">
      <a:dk1>
        <a:srgbClr val="FFFFFF"/>
      </a:dk1>
      <a:lt1>
        <a:srgbClr val="CC0033"/>
      </a:lt1>
      <a:dk2>
        <a:srgbClr val="000000"/>
      </a:dk2>
      <a:lt2>
        <a:srgbClr val="DADADA"/>
      </a:lt2>
      <a:accent1>
        <a:srgbClr val="C6C6C6"/>
      </a:accent1>
      <a:accent2>
        <a:srgbClr val="9D9D9D"/>
      </a:accent2>
      <a:accent3>
        <a:srgbClr val="575757"/>
      </a:accent3>
      <a:accent4>
        <a:srgbClr val="333399"/>
      </a:accent4>
      <a:accent5>
        <a:srgbClr val="6D7579"/>
      </a:accent5>
      <a:accent6>
        <a:srgbClr val="003366"/>
      </a:accent6>
      <a:hlink>
        <a:srgbClr val="6D7579"/>
      </a:hlink>
      <a:folHlink>
        <a:srgbClr val="434C53"/>
      </a:folHlink>
    </a:clrScheme>
    <a:fontScheme name="f3c1qxc3">
      <a:majorFont>
        <a:latin typeface="Audi Type"/>
        <a:ea typeface="微软雅黑"/>
        <a:cs typeface=""/>
      </a:majorFont>
      <a:minorFont>
        <a:latin typeface="Audi Type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>
          <a:lnSpc>
            <a:spcPct val="150000"/>
          </a:lnSpc>
          <a:defRPr sz="1400" dirty="0">
            <a:latin typeface="Audi Type" panose="020B0503040200000003" charset="0"/>
            <a:ea typeface="+mj-ea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square" lIns="91440" tIns="45720" rIns="91440" bIns="45720" rtlCol="0" anchor="ctr">
        <a:normAutofit/>
      </a:bodyPr>
      <a:lstStyle>
        <a:defPPr>
          <a:defRPr sz="1400" dirty="0" smtClean="0">
            <a:latin typeface="Audi Type" panose="020B0503040200000003"/>
            <a:ea typeface="+mj-ea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91</Words>
  <Application>WPS 演示</Application>
  <PresentationFormat>宽屏</PresentationFormat>
  <Paragraphs>110</Paragraphs>
  <Slides>7</Slides>
  <Notes>14</Notes>
  <HiddenSlides>0</HiddenSlides>
  <MMClips>0</MMClips>
  <ScaleCrop>false</ScaleCrop>
  <HeadingPairs>
    <vt:vector size="8" baseType="variant">
      <vt:variant>
        <vt:lpstr>已用的字体</vt:lpstr>
      </vt:variant>
      <vt:variant>
        <vt:i4>19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4</vt:i4>
      </vt:variant>
      <vt:variant>
        <vt:lpstr>幻灯片标题</vt:lpstr>
      </vt:variant>
      <vt:variant>
        <vt:i4>7</vt:i4>
      </vt:variant>
    </vt:vector>
  </HeadingPairs>
  <TitlesOfParts>
    <vt:vector size="32" baseType="lpstr">
      <vt:lpstr>Arial</vt:lpstr>
      <vt:lpstr>宋体</vt:lpstr>
      <vt:lpstr>Wingdings</vt:lpstr>
      <vt:lpstr>Audi Type Bold</vt:lpstr>
      <vt:lpstr>Audi Type</vt:lpstr>
      <vt:lpstr>Audi Type Extended</vt:lpstr>
      <vt:lpstr>Audi Type Extended Normal</vt:lpstr>
      <vt:lpstr>华康金刚黑</vt:lpstr>
      <vt:lpstr>Symbol</vt:lpstr>
      <vt:lpstr>Roboto</vt:lpstr>
      <vt:lpstr>Times New Roman</vt:lpstr>
      <vt:lpstr>华康金刚黑 Semibold</vt:lpstr>
      <vt:lpstr>Audi Type</vt:lpstr>
      <vt:lpstr>微软雅黑</vt:lpstr>
      <vt:lpstr>微软雅黑 Light</vt:lpstr>
      <vt:lpstr>Audi Type Extended</vt:lpstr>
      <vt:lpstr>华康黑体W5(P)</vt:lpstr>
      <vt:lpstr>Times New Roman</vt:lpstr>
      <vt:lpstr>Arial Unicode MS</vt:lpstr>
      <vt:lpstr>Audi VdT EN 16:9</vt:lpstr>
      <vt:lpstr>自定义设计方案</vt:lpstr>
      <vt:lpstr>TCLayout.ActiveDocument.1</vt:lpstr>
      <vt:lpstr>TCLayout.ActiveDocument.1</vt:lpstr>
      <vt:lpstr>TCLayout.ActiveDocument.1</vt:lpstr>
      <vt:lpstr>TCLayout.ActiveDocument.1</vt:lpstr>
      <vt:lpstr>一汽奥迪品牌衍生服务产品运营服务商应标模板</vt:lpstr>
      <vt:lpstr>PowerPoint 演示文稿</vt:lpstr>
      <vt:lpstr>公司概况</vt:lpstr>
      <vt:lpstr>项目经验及历史执行情况</vt:lpstr>
      <vt:lpstr>业务管理机制</vt:lpstr>
      <vt:lpstr>本次合作开展规划</vt:lpstr>
      <vt:lpstr>PowerPoint 演示文稿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奥迪品牌汽车延保业务指导手册</dc:title>
  <dc:creator>Zhang, Xin (Audi)</dc:creator>
  <cp:lastModifiedBy>siqi.li.au</cp:lastModifiedBy>
  <cp:revision>13</cp:revision>
  <cp:lastPrinted>2025-09-08T08:37:00Z</cp:lastPrinted>
  <dcterms:created xsi:type="dcterms:W3CDTF">2025-09-08T08:37:00Z</dcterms:created>
  <dcterms:modified xsi:type="dcterms:W3CDTF">2026-06-03T06:19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1c9b508-7c6e-42bd-bedf-808292653d6c_Enabled">
    <vt:lpwstr>True</vt:lpwstr>
  </property>
  <property fmtid="{D5CDD505-2E9C-101B-9397-08002B2CF9AE}" pid="3" name="MSIP_Label_b1c9b508-7c6e-42bd-bedf-808292653d6c_SiteId">
    <vt:lpwstr>2882be50-2012-4d88-ac86-544124e120c8</vt:lpwstr>
  </property>
  <property fmtid="{D5CDD505-2E9C-101B-9397-08002B2CF9AE}" pid="4" name="MSIP_Label_b1c9b508-7c6e-42bd-bedf-808292653d6c_Owner">
    <vt:lpwstr>marion.braun@audi.de</vt:lpwstr>
  </property>
  <property fmtid="{D5CDD505-2E9C-101B-9397-08002B2CF9AE}" pid="5" name="MSIP_Label_b1c9b508-7c6e-42bd-bedf-808292653d6c_SetDate">
    <vt:lpwstr>2020-02-04T15:21:29.1395127Z</vt:lpwstr>
  </property>
  <property fmtid="{D5CDD505-2E9C-101B-9397-08002B2CF9AE}" pid="6" name="MSIP_Label_b1c9b508-7c6e-42bd-bedf-808292653d6c_Name">
    <vt:lpwstr>Internal</vt:lpwstr>
  </property>
  <property fmtid="{D5CDD505-2E9C-101B-9397-08002B2CF9AE}" pid="7" name="MSIP_Label_b1c9b508-7c6e-42bd-bedf-808292653d6c_Application">
    <vt:lpwstr>Microsoft Azure Information Protection</vt:lpwstr>
  </property>
  <property fmtid="{D5CDD505-2E9C-101B-9397-08002B2CF9AE}" pid="8" name="MSIP_Label_b1c9b508-7c6e-42bd-bedf-808292653d6c_ActionId">
    <vt:lpwstr>39617343-0f36-463a-bc52-7fc4b94299f5</vt:lpwstr>
  </property>
  <property fmtid="{D5CDD505-2E9C-101B-9397-08002B2CF9AE}" pid="9" name="MSIP_Label_b1c9b508-7c6e-42bd-bedf-808292653d6c_Extended_MSFT_Method">
    <vt:lpwstr>Automatic</vt:lpwstr>
  </property>
  <property fmtid="{D5CDD505-2E9C-101B-9397-08002B2CF9AE}" pid="10" name="Sensitivity">
    <vt:lpwstr>Internal</vt:lpwstr>
  </property>
  <property fmtid="{D5CDD505-2E9C-101B-9397-08002B2CF9AE}" pid="11" name="ICV">
    <vt:lpwstr>B0495BA9D5974354AD39716633EC8915_13</vt:lpwstr>
  </property>
  <property fmtid="{D5CDD505-2E9C-101B-9397-08002B2CF9AE}" pid="12" name="KSOProductBuildVer">
    <vt:lpwstr>2052-12.1.0.23542</vt:lpwstr>
  </property>
</Properties>
</file>